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25"/>
  </p:notesMasterIdLst>
  <p:sldIdLst>
    <p:sldId id="256" r:id="rId2"/>
    <p:sldId id="341" r:id="rId3"/>
    <p:sldId id="340" r:id="rId4"/>
    <p:sldId id="346" r:id="rId5"/>
    <p:sldId id="1887" r:id="rId6"/>
    <p:sldId id="1908" r:id="rId7"/>
    <p:sldId id="1889" r:id="rId8"/>
    <p:sldId id="1890" r:id="rId9"/>
    <p:sldId id="1891" r:id="rId10"/>
    <p:sldId id="1892" r:id="rId11"/>
    <p:sldId id="348" r:id="rId12"/>
    <p:sldId id="349" r:id="rId13"/>
    <p:sldId id="1895" r:id="rId14"/>
    <p:sldId id="1893" r:id="rId15"/>
    <p:sldId id="1894" r:id="rId16"/>
    <p:sldId id="1903" r:id="rId17"/>
    <p:sldId id="1896" r:id="rId18"/>
    <p:sldId id="1904" r:id="rId19"/>
    <p:sldId id="1898" r:id="rId20"/>
    <p:sldId id="1901" r:id="rId21"/>
    <p:sldId id="1907" r:id="rId22"/>
    <p:sldId id="1909" r:id="rId23"/>
    <p:sldId id="270" r:id="rId24"/>
  </p:sldIdLst>
  <p:sldSz cx="18288000" cy="10287000"/>
  <p:notesSz cx="6858000" cy="9144000"/>
  <p:embeddedFontLst>
    <p:embeddedFont>
      <p:font typeface="Roboto" panose="02000000000000000000" pitchFamily="2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3E6B"/>
    <a:srgbClr val="46B969"/>
    <a:srgbClr val="FFCB08"/>
    <a:srgbClr val="FF9900"/>
    <a:srgbClr val="00A4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815A4E-078B-46FC-AC50-9B843DF784A9}" v="15" dt="2025-04-13T23:42:12.176"/>
    <p1510:client id="{DBBC106B-624F-4A7C-9EDC-5B980619B417}" v="1861" dt="2025-04-14T02:10:22.0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4" d="100"/>
          <a:sy n="44" d="100"/>
        </p:scale>
        <p:origin x="1258" y="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li Corrales" userId="8d9d0ed4564266e5" providerId="Windows Live" clId="Web-{12728DC4-0D3D-4058-A876-7087ED8B9D73}"/>
    <pc:docChg chg="modSld">
      <pc:chgData name="Rosali Corrales" userId="8d9d0ed4564266e5" providerId="Windows Live" clId="Web-{12728DC4-0D3D-4058-A876-7087ED8B9D73}" dt="2025-04-12T00:28:24.411" v="133" actId="20577"/>
      <pc:docMkLst>
        <pc:docMk/>
      </pc:docMkLst>
      <pc:sldChg chg="modSp">
        <pc:chgData name="Rosali Corrales" userId="8d9d0ed4564266e5" providerId="Windows Live" clId="Web-{12728DC4-0D3D-4058-A876-7087ED8B9D73}" dt="2025-04-12T00:21:36.742" v="117" actId="20577"/>
        <pc:sldMkLst>
          <pc:docMk/>
          <pc:sldMk cId="1653203052" sldId="284"/>
        </pc:sldMkLst>
      </pc:sldChg>
      <pc:sldChg chg="modSp">
        <pc:chgData name="Rosali Corrales" userId="8d9d0ed4564266e5" providerId="Windows Live" clId="Web-{12728DC4-0D3D-4058-A876-7087ED8B9D73}" dt="2025-04-12T00:27:12.050" v="129" actId="20577"/>
        <pc:sldMkLst>
          <pc:docMk/>
          <pc:sldMk cId="2320476712" sldId="286"/>
        </pc:sldMkLst>
      </pc:sldChg>
      <pc:sldChg chg="modSp">
        <pc:chgData name="Rosali Corrales" userId="8d9d0ed4564266e5" providerId="Windows Live" clId="Web-{12728DC4-0D3D-4058-A876-7087ED8B9D73}" dt="2025-04-12T00:22:02.133" v="119" actId="20577"/>
        <pc:sldMkLst>
          <pc:docMk/>
          <pc:sldMk cId="1489327096" sldId="288"/>
        </pc:sldMkLst>
      </pc:sldChg>
      <pc:sldChg chg="modSp">
        <pc:chgData name="Rosali Corrales" userId="8d9d0ed4564266e5" providerId="Windows Live" clId="Web-{12728DC4-0D3D-4058-A876-7087ED8B9D73}" dt="2025-04-12T00:22:08.414" v="121" actId="20577"/>
        <pc:sldMkLst>
          <pc:docMk/>
          <pc:sldMk cId="1310384478" sldId="289"/>
        </pc:sldMkLst>
      </pc:sldChg>
      <pc:sldChg chg="modSp">
        <pc:chgData name="Rosali Corrales" userId="8d9d0ed4564266e5" providerId="Windows Live" clId="Web-{12728DC4-0D3D-4058-A876-7087ED8B9D73}" dt="2025-04-12T00:28:24.411" v="133" actId="20577"/>
        <pc:sldMkLst>
          <pc:docMk/>
          <pc:sldMk cId="4137034099" sldId="345"/>
        </pc:sldMkLst>
      </pc:sldChg>
      <pc:sldChg chg="modSp">
        <pc:chgData name="Rosali Corrales" userId="8d9d0ed4564266e5" providerId="Windows Live" clId="Web-{12728DC4-0D3D-4058-A876-7087ED8B9D73}" dt="2025-04-12T00:19:30.409" v="113" actId="20577"/>
        <pc:sldMkLst>
          <pc:docMk/>
          <pc:sldMk cId="845158394" sldId="348"/>
        </pc:sldMkLst>
        <pc:spChg chg="mod">
          <ac:chgData name="Rosali Corrales" userId="8d9d0ed4564266e5" providerId="Windows Live" clId="Web-{12728DC4-0D3D-4058-A876-7087ED8B9D73}" dt="2025-04-12T00:15:33.698" v="76" actId="20577"/>
          <ac:spMkLst>
            <pc:docMk/>
            <pc:sldMk cId="845158394" sldId="348"/>
            <ac:spMk id="3" creationId="{30488748-32AE-162A-F0C9-518BCE60D0AD}"/>
          </ac:spMkLst>
        </pc:spChg>
        <pc:spChg chg="mod">
          <ac:chgData name="Rosali Corrales" userId="8d9d0ed4564266e5" providerId="Windows Live" clId="Web-{12728DC4-0D3D-4058-A876-7087ED8B9D73}" dt="2025-04-12T00:19:30.409" v="113" actId="20577"/>
          <ac:spMkLst>
            <pc:docMk/>
            <pc:sldMk cId="845158394" sldId="348"/>
            <ac:spMk id="14" creationId="{4231F1D5-E969-6CAD-EB73-C1CF16576F01}"/>
          </ac:spMkLst>
        </pc:spChg>
      </pc:sldChg>
      <pc:sldChg chg="modSp">
        <pc:chgData name="Rosali Corrales" userId="8d9d0ed4564266e5" providerId="Windows Live" clId="Web-{12728DC4-0D3D-4058-A876-7087ED8B9D73}" dt="2025-04-12T00:21:02.115" v="115" actId="20577"/>
        <pc:sldMkLst>
          <pc:docMk/>
          <pc:sldMk cId="878835421" sldId="1895"/>
        </pc:sldMkLst>
        <pc:spChg chg="mod">
          <ac:chgData name="Rosali Corrales" userId="8d9d0ed4564266e5" providerId="Windows Live" clId="Web-{12728DC4-0D3D-4058-A876-7087ED8B9D73}" dt="2025-04-12T00:21:02.115" v="115" actId="20577"/>
          <ac:spMkLst>
            <pc:docMk/>
            <pc:sldMk cId="878835421" sldId="1895"/>
            <ac:spMk id="3" creationId="{FF843F33-B325-04E6-2D0F-0CE7FC785621}"/>
          </ac:spMkLst>
        </pc:spChg>
      </pc:sldChg>
    </pc:docChg>
  </pc:docChgLst>
  <pc:docChgLst>
    <pc:chgData name="Rosali Corrales" userId="8d9d0ed4564266e5" providerId="Windows Live" clId="Web-{C91C913E-C65E-45E2-AA8B-5A9A699FB824}"/>
    <pc:docChg chg="addSld modSld">
      <pc:chgData name="Rosali Corrales" userId="8d9d0ed4564266e5" providerId="Windows Live" clId="Web-{C91C913E-C65E-45E2-AA8B-5A9A699FB824}" dt="2025-04-10T21:02:09.719" v="67" actId="1076"/>
      <pc:docMkLst>
        <pc:docMk/>
      </pc:docMkLst>
      <pc:sldChg chg="delSp modSp">
        <pc:chgData name="Rosali Corrales" userId="8d9d0ed4564266e5" providerId="Windows Live" clId="Web-{C91C913E-C65E-45E2-AA8B-5A9A699FB824}" dt="2025-04-10T21:01:35.312" v="66" actId="1076"/>
        <pc:sldMkLst>
          <pc:docMk/>
          <pc:sldMk cId="494191694" sldId="282"/>
        </pc:sldMkLst>
      </pc:sldChg>
      <pc:sldChg chg="delSp modSp add replId">
        <pc:chgData name="Rosali Corrales" userId="8d9d0ed4564266e5" providerId="Windows Live" clId="Web-{C91C913E-C65E-45E2-AA8B-5A9A699FB824}" dt="2025-04-10T21:02:09.719" v="67" actId="1076"/>
        <pc:sldMkLst>
          <pc:docMk/>
          <pc:sldMk cId="3013474433" sldId="344"/>
        </pc:sldMkLst>
      </pc:sldChg>
    </pc:docChg>
  </pc:docChgLst>
  <pc:docChgLst>
    <pc:chgData name="Rosali Corrales" userId="8d9d0ed4564266e5" providerId="Windows Live" clId="Web-{47815A4E-078B-46FC-AC50-9B843DF784A9}"/>
    <pc:docChg chg="modSld">
      <pc:chgData name="Rosali Corrales" userId="8d9d0ed4564266e5" providerId="Windows Live" clId="Web-{47815A4E-078B-46FC-AC50-9B843DF784A9}" dt="2025-04-13T23:42:08.176" v="11" actId="20577"/>
      <pc:docMkLst>
        <pc:docMk/>
      </pc:docMkLst>
      <pc:sldChg chg="modSp">
        <pc:chgData name="Rosali Corrales" userId="8d9d0ed4564266e5" providerId="Windows Live" clId="Web-{47815A4E-078B-46FC-AC50-9B843DF784A9}" dt="2025-04-13T22:26:19.601" v="6" actId="1076"/>
        <pc:sldMkLst>
          <pc:docMk/>
          <pc:sldMk cId="1026869291" sldId="341"/>
        </pc:sldMkLst>
        <pc:spChg chg="mod">
          <ac:chgData name="Rosali Corrales" userId="8d9d0ed4564266e5" providerId="Windows Live" clId="Web-{47815A4E-078B-46FC-AC50-9B843DF784A9}" dt="2025-04-13T22:26:19.601" v="6" actId="1076"/>
          <ac:spMkLst>
            <pc:docMk/>
            <pc:sldMk cId="1026869291" sldId="341"/>
            <ac:spMk id="5" creationId="{7A35A21F-92FE-A18A-96F8-31F9C0BC76AC}"/>
          </ac:spMkLst>
        </pc:spChg>
      </pc:sldChg>
      <pc:sldChg chg="modSp">
        <pc:chgData name="Rosali Corrales" userId="8d9d0ed4564266e5" providerId="Windows Live" clId="Web-{47815A4E-078B-46FC-AC50-9B843DF784A9}" dt="2025-04-13T23:42:08.176" v="11" actId="20577"/>
        <pc:sldMkLst>
          <pc:docMk/>
          <pc:sldMk cId="2794374870" sldId="349"/>
        </pc:sldMkLst>
        <pc:spChg chg="mod">
          <ac:chgData name="Rosali Corrales" userId="8d9d0ed4564266e5" providerId="Windows Live" clId="Web-{47815A4E-078B-46FC-AC50-9B843DF784A9}" dt="2025-04-13T23:42:08.176" v="11" actId="20577"/>
          <ac:spMkLst>
            <pc:docMk/>
            <pc:sldMk cId="2794374870" sldId="349"/>
            <ac:spMk id="58" creationId="{8CD7D5E6-CCF5-BFA4-DA90-4ACD6911BC26}"/>
          </ac:spMkLst>
        </pc:spChg>
      </pc:sldChg>
      <pc:sldChg chg="modSp">
        <pc:chgData name="Rosali Corrales" userId="8d9d0ed4564266e5" providerId="Windows Live" clId="Web-{47815A4E-078B-46FC-AC50-9B843DF784A9}" dt="2025-04-12T05:40:39.510" v="5" actId="20577"/>
        <pc:sldMkLst>
          <pc:docMk/>
          <pc:sldMk cId="467145941" sldId="1898"/>
        </pc:sldMkLst>
        <pc:spChg chg="mod">
          <ac:chgData name="Rosali Corrales" userId="8d9d0ed4564266e5" providerId="Windows Live" clId="Web-{47815A4E-078B-46FC-AC50-9B843DF784A9}" dt="2025-04-12T05:40:39.510" v="5" actId="20577"/>
          <ac:spMkLst>
            <pc:docMk/>
            <pc:sldMk cId="467145941" sldId="1898"/>
            <ac:spMk id="3" creationId="{B4130B59-25D0-C524-2973-014AE8DE63AB}"/>
          </ac:spMkLst>
        </pc:spChg>
      </pc:sldChg>
    </pc:docChg>
  </pc:docChgLst>
  <pc:docChgLst>
    <pc:chgData name="wen fong wang" userId="110c6fba90ab9ee8" providerId="Windows Live" clId="Web-{4D5C4656-471D-4ACD-8391-1F15CE470C56}"/>
    <pc:docChg chg="addSld modSld">
      <pc:chgData name="wen fong wang" userId="110c6fba90ab9ee8" providerId="Windows Live" clId="Web-{4D5C4656-471D-4ACD-8391-1F15CE470C56}" dt="2025-04-07T20:42:13.642" v="143" actId="14100"/>
      <pc:docMkLst>
        <pc:docMk/>
      </pc:docMkLst>
      <pc:sldChg chg="addSp delSp modSp add replId">
        <pc:chgData name="wen fong wang" userId="110c6fba90ab9ee8" providerId="Windows Live" clId="Web-{4D5C4656-471D-4ACD-8391-1F15CE470C56}" dt="2025-04-07T20:42:13.642" v="143" actId="14100"/>
        <pc:sldMkLst>
          <pc:docMk/>
          <pc:sldMk cId="2320476712" sldId="286"/>
        </pc:sldMkLst>
      </pc:sldChg>
      <pc:sldChg chg="addSp delSp modSp add replId">
        <pc:chgData name="wen fong wang" userId="110c6fba90ab9ee8" providerId="Windows Live" clId="Web-{4D5C4656-471D-4ACD-8391-1F15CE470C56}" dt="2025-04-07T20:41:56.032" v="140" actId="20577"/>
        <pc:sldMkLst>
          <pc:docMk/>
          <pc:sldMk cId="1235851373" sldId="287"/>
        </pc:sldMkLst>
      </pc:sldChg>
    </pc:docChg>
  </pc:docChgLst>
  <pc:docChgLst>
    <pc:chgData name="wen fong wang" userId="110c6fba90ab9ee8" providerId="Windows Live" clId="Web-{0FC0F9F5-3B89-4040-9BFF-F2801BE880B5}"/>
    <pc:docChg chg="addSld modSld">
      <pc:chgData name="wen fong wang" userId="110c6fba90ab9ee8" providerId="Windows Live" clId="Web-{0FC0F9F5-3B89-4040-9BFF-F2801BE880B5}" dt="2025-04-10T20:59:30.136" v="100" actId="20577"/>
      <pc:docMkLst>
        <pc:docMk/>
      </pc:docMkLst>
      <pc:sldChg chg="delSp modSp">
        <pc:chgData name="wen fong wang" userId="110c6fba90ab9ee8" providerId="Windows Live" clId="Web-{0FC0F9F5-3B89-4040-9BFF-F2801BE880B5}" dt="2025-04-10T20:59:02.510" v="94" actId="1076"/>
        <pc:sldMkLst>
          <pc:docMk/>
          <pc:sldMk cId="2118665944" sldId="272"/>
        </pc:sldMkLst>
      </pc:sldChg>
      <pc:sldChg chg="delSp modSp add replId">
        <pc:chgData name="wen fong wang" userId="110c6fba90ab9ee8" providerId="Windows Live" clId="Web-{0FC0F9F5-3B89-4040-9BFF-F2801BE880B5}" dt="2025-04-10T20:59:30.136" v="100" actId="20577"/>
        <pc:sldMkLst>
          <pc:docMk/>
          <pc:sldMk cId="4137034099" sldId="345"/>
        </pc:sldMkLst>
      </pc:sldChg>
    </pc:docChg>
  </pc:docChgLst>
  <pc:docChgLst>
    <pc:chgData name="Rosali Corrales" userId="8d9d0ed4564266e5" providerId="Windows Live" clId="Web-{F752B96F-20E8-4DBB-B999-EC48CBCC6D9C}"/>
    <pc:docChg chg="addSld modSld">
      <pc:chgData name="Rosali Corrales" userId="8d9d0ed4564266e5" providerId="Windows Live" clId="Web-{F752B96F-20E8-4DBB-B999-EC48CBCC6D9C}" dt="2025-04-10T00:16:29.309" v="264" actId="1076"/>
      <pc:docMkLst>
        <pc:docMk/>
      </pc:docMkLst>
      <pc:sldChg chg="addSp delSp modSp">
        <pc:chgData name="Rosali Corrales" userId="8d9d0ed4564266e5" providerId="Windows Live" clId="Web-{F752B96F-20E8-4DBB-B999-EC48CBCC6D9C}" dt="2025-04-09T23:07:21.950" v="61" actId="1076"/>
        <pc:sldMkLst>
          <pc:docMk/>
          <pc:sldMk cId="2768251025" sldId="266"/>
        </pc:sldMkLst>
      </pc:sldChg>
      <pc:sldChg chg="delSp modSp">
        <pc:chgData name="Rosali Corrales" userId="8d9d0ed4564266e5" providerId="Windows Live" clId="Web-{F752B96F-20E8-4DBB-B999-EC48CBCC6D9C}" dt="2025-04-09T23:31:36.812" v="160" actId="20577"/>
        <pc:sldMkLst>
          <pc:docMk/>
          <pc:sldMk cId="2266295805" sldId="271"/>
        </pc:sldMkLst>
      </pc:sldChg>
      <pc:sldChg chg="modSp">
        <pc:chgData name="Rosali Corrales" userId="8d9d0ed4564266e5" providerId="Windows Live" clId="Web-{F752B96F-20E8-4DBB-B999-EC48CBCC6D9C}" dt="2025-04-09T23:46:14.451" v="247" actId="20577"/>
        <pc:sldMkLst>
          <pc:docMk/>
          <pc:sldMk cId="2118665944" sldId="272"/>
        </pc:sldMkLst>
      </pc:sldChg>
      <pc:sldChg chg="addSp delSp modSp">
        <pc:chgData name="Rosali Corrales" userId="8d9d0ed4564266e5" providerId="Windows Live" clId="Web-{F752B96F-20E8-4DBB-B999-EC48CBCC6D9C}" dt="2025-04-09T23:31:10.686" v="137" actId="20577"/>
        <pc:sldMkLst>
          <pc:docMk/>
          <pc:sldMk cId="4069873735" sldId="277"/>
        </pc:sldMkLst>
      </pc:sldChg>
      <pc:sldChg chg="modSp">
        <pc:chgData name="Rosali Corrales" userId="8d9d0ed4564266e5" providerId="Windows Live" clId="Web-{F752B96F-20E8-4DBB-B999-EC48CBCC6D9C}" dt="2025-04-09T23:35:47.336" v="197" actId="20577"/>
        <pc:sldMkLst>
          <pc:docMk/>
          <pc:sldMk cId="2297929887" sldId="278"/>
        </pc:sldMkLst>
      </pc:sldChg>
      <pc:sldChg chg="modSp">
        <pc:chgData name="Rosali Corrales" userId="8d9d0ed4564266e5" providerId="Windows Live" clId="Web-{F752B96F-20E8-4DBB-B999-EC48CBCC6D9C}" dt="2025-04-09T23:34:04.895" v="176" actId="20577"/>
        <pc:sldMkLst>
          <pc:docMk/>
          <pc:sldMk cId="2828062932" sldId="279"/>
        </pc:sldMkLst>
      </pc:sldChg>
      <pc:sldChg chg="modSp">
        <pc:chgData name="Rosali Corrales" userId="8d9d0ed4564266e5" providerId="Windows Live" clId="Web-{F752B96F-20E8-4DBB-B999-EC48CBCC6D9C}" dt="2025-04-09T23:34:51.522" v="184" actId="20577"/>
        <pc:sldMkLst>
          <pc:docMk/>
          <pc:sldMk cId="1938733071" sldId="280"/>
        </pc:sldMkLst>
      </pc:sldChg>
      <pc:sldChg chg="modSp">
        <pc:chgData name="Rosali Corrales" userId="8d9d0ed4564266e5" providerId="Windows Live" clId="Web-{F752B96F-20E8-4DBB-B999-EC48CBCC6D9C}" dt="2025-04-09T23:35:03.507" v="190" actId="20577"/>
        <pc:sldMkLst>
          <pc:docMk/>
          <pc:sldMk cId="275357919" sldId="281"/>
        </pc:sldMkLst>
      </pc:sldChg>
      <pc:sldChg chg="modSp">
        <pc:chgData name="Rosali Corrales" userId="8d9d0ed4564266e5" providerId="Windows Live" clId="Web-{F752B96F-20E8-4DBB-B999-EC48CBCC6D9C}" dt="2025-04-09T23:36:10.775" v="211" actId="20577"/>
        <pc:sldMkLst>
          <pc:docMk/>
          <pc:sldMk cId="494191694" sldId="282"/>
        </pc:sldMkLst>
      </pc:sldChg>
      <pc:sldChg chg="modSp">
        <pc:chgData name="Rosali Corrales" userId="8d9d0ed4564266e5" providerId="Windows Live" clId="Web-{F752B96F-20E8-4DBB-B999-EC48CBCC6D9C}" dt="2025-04-09T23:56:45.410" v="254" actId="20577"/>
        <pc:sldMkLst>
          <pc:docMk/>
          <pc:sldMk cId="1653203052" sldId="284"/>
        </pc:sldMkLst>
      </pc:sldChg>
      <pc:sldChg chg="delSp modSp">
        <pc:chgData name="Rosali Corrales" userId="8d9d0ed4564266e5" providerId="Windows Live" clId="Web-{F752B96F-20E8-4DBB-B999-EC48CBCC6D9C}" dt="2025-04-10T00:16:29.309" v="264" actId="1076"/>
        <pc:sldMkLst>
          <pc:docMk/>
          <pc:sldMk cId="2320476712" sldId="286"/>
        </pc:sldMkLst>
      </pc:sldChg>
      <pc:sldChg chg="modSp">
        <pc:chgData name="Rosali Corrales" userId="8d9d0ed4564266e5" providerId="Windows Live" clId="Web-{F752B96F-20E8-4DBB-B999-EC48CBCC6D9C}" dt="2025-04-09T23:37:04.636" v="231" actId="20577"/>
        <pc:sldMkLst>
          <pc:docMk/>
          <pc:sldMk cId="1235851373" sldId="287"/>
        </pc:sldMkLst>
      </pc:sldChg>
      <pc:sldChg chg="modSp">
        <pc:chgData name="Rosali Corrales" userId="8d9d0ed4564266e5" providerId="Windows Live" clId="Web-{F752B96F-20E8-4DBB-B999-EC48CBCC6D9C}" dt="2025-04-09T23:37:18.308" v="239" actId="20577"/>
        <pc:sldMkLst>
          <pc:docMk/>
          <pc:sldMk cId="1489327096" sldId="288"/>
        </pc:sldMkLst>
      </pc:sldChg>
      <pc:sldChg chg="modSp">
        <pc:chgData name="Rosali Corrales" userId="8d9d0ed4564266e5" providerId="Windows Live" clId="Web-{F752B96F-20E8-4DBB-B999-EC48CBCC6D9C}" dt="2025-04-09T23:37:25.230" v="245" actId="20577"/>
        <pc:sldMkLst>
          <pc:docMk/>
          <pc:sldMk cId="1310384478" sldId="289"/>
        </pc:sldMkLst>
      </pc:sldChg>
      <pc:sldChg chg="addSp delSp modSp">
        <pc:chgData name="Rosali Corrales" userId="8d9d0ed4564266e5" providerId="Windows Live" clId="Web-{F752B96F-20E8-4DBB-B999-EC48CBCC6D9C}" dt="2025-04-09T23:31:28.828" v="154" actId="20577"/>
        <pc:sldMkLst>
          <pc:docMk/>
          <pc:sldMk cId="3837236660" sldId="290"/>
        </pc:sldMkLst>
      </pc:sldChg>
      <pc:sldChg chg="delSp modSp add replId">
        <pc:chgData name="Rosali Corrales" userId="8d9d0ed4564266e5" providerId="Windows Live" clId="Web-{F752B96F-20E8-4DBB-B999-EC48CBCC6D9C}" dt="2025-04-09T23:31:55.766" v="167" actId="20577"/>
        <pc:sldMkLst>
          <pc:docMk/>
          <pc:sldMk cId="1874348626" sldId="291"/>
        </pc:sldMkLst>
      </pc:sldChg>
      <pc:sldChg chg="addSp delSp modSp add replId">
        <pc:chgData name="Rosali Corrales" userId="8d9d0ed4564266e5" providerId="Windows Live" clId="Web-{F752B96F-20E8-4DBB-B999-EC48CBCC6D9C}" dt="2025-04-09T23:20:34.259" v="123" actId="20577"/>
        <pc:sldMkLst>
          <pc:docMk/>
          <pc:sldMk cId="1235791972" sldId="292"/>
        </pc:sldMkLst>
      </pc:sldChg>
    </pc:docChg>
  </pc:docChgLst>
  <pc:docChgLst>
    <pc:chgData name="Rosali Corrales" userId="8d9d0ed4564266e5" providerId="Windows Live" clId="Web-{AD09B316-C0A9-4C4C-AF3B-2AA7743E4A52}"/>
    <pc:docChg chg="modSld">
      <pc:chgData name="Rosali Corrales" userId="8d9d0ed4564266e5" providerId="Windows Live" clId="Web-{AD09B316-C0A9-4C4C-AF3B-2AA7743E4A52}" dt="2025-04-11T01:05:38.879" v="24" actId="1076"/>
      <pc:docMkLst>
        <pc:docMk/>
      </pc:docMkLst>
      <pc:sldChg chg="addSp delSp modSp">
        <pc:chgData name="Rosali Corrales" userId="8d9d0ed4564266e5" providerId="Windows Live" clId="Web-{AD09B316-C0A9-4C4C-AF3B-2AA7743E4A52}" dt="2025-04-11T01:05:08.643" v="19"/>
        <pc:sldMkLst>
          <pc:docMk/>
          <pc:sldMk cId="0" sldId="256"/>
        </pc:sldMkLst>
        <pc:spChg chg="mod">
          <ac:chgData name="Rosali Corrales" userId="8d9d0ed4564266e5" providerId="Windows Live" clId="Web-{AD09B316-C0A9-4C4C-AF3B-2AA7743E4A52}" dt="2025-04-11T01:04:36.750" v="17" actId="1076"/>
          <ac:spMkLst>
            <pc:docMk/>
            <pc:sldMk cId="0" sldId="256"/>
            <ac:spMk id="2" creationId="{00000000-0000-0000-0000-000000000000}"/>
          </ac:spMkLst>
        </pc:spChg>
      </pc:sldChg>
      <pc:sldChg chg="addSp modSp">
        <pc:chgData name="Rosali Corrales" userId="8d9d0ed4564266e5" providerId="Windows Live" clId="Web-{AD09B316-C0A9-4C4C-AF3B-2AA7743E4A52}" dt="2025-04-11T01:05:38.879" v="24" actId="1076"/>
        <pc:sldMkLst>
          <pc:docMk/>
          <pc:sldMk cId="2266295805" sldId="271"/>
        </pc:sldMkLst>
      </pc:sldChg>
      <pc:sldChg chg="addSp delSp modSp mod setBg">
        <pc:chgData name="Rosali Corrales" userId="8d9d0ed4564266e5" providerId="Windows Live" clId="Web-{AD09B316-C0A9-4C4C-AF3B-2AA7743E4A52}" dt="2025-04-11T01:00:59.096" v="11"/>
        <pc:sldMkLst>
          <pc:docMk/>
          <pc:sldMk cId="3837236660" sldId="290"/>
        </pc:sldMkLst>
      </pc:sldChg>
    </pc:docChg>
  </pc:docChgLst>
  <pc:docChgLst>
    <pc:chgData name="Rosali Corrales" userId="8d9d0ed4564266e5" providerId="Windows Live" clId="Web-{D1472457-6463-4D14-8656-770B619F90EA}"/>
    <pc:docChg chg="modSld">
      <pc:chgData name="Rosali Corrales" userId="8d9d0ed4564266e5" providerId="Windows Live" clId="Web-{D1472457-6463-4D14-8656-770B619F90EA}" dt="2025-04-09T21:58:19.519" v="33" actId="20577"/>
      <pc:docMkLst>
        <pc:docMk/>
      </pc:docMkLst>
      <pc:sldChg chg="modSp">
        <pc:chgData name="Rosali Corrales" userId="8d9d0ed4564266e5" providerId="Windows Live" clId="Web-{D1472457-6463-4D14-8656-770B619F90EA}" dt="2025-04-09T21:58:19.519" v="33" actId="20577"/>
        <pc:sldMkLst>
          <pc:docMk/>
          <pc:sldMk cId="4069873735" sldId="277"/>
        </pc:sldMkLst>
      </pc:sldChg>
    </pc:docChg>
  </pc:docChgLst>
  <pc:docChgLst>
    <pc:chgData name="Rosali Corrales" userId="8d9d0ed4564266e5" providerId="Windows Live" clId="Web-{41A85987-7641-4781-9A3C-B32B5625BFBE}"/>
    <pc:docChg chg="modSld">
      <pc:chgData name="Rosali Corrales" userId="8d9d0ed4564266e5" providerId="Windows Live" clId="Web-{41A85987-7641-4781-9A3C-B32B5625BFBE}" dt="2025-04-10T21:06:38.531" v="103" actId="1076"/>
      <pc:docMkLst>
        <pc:docMk/>
      </pc:docMkLst>
      <pc:sldChg chg="delSp modSp">
        <pc:chgData name="Rosali Corrales" userId="8d9d0ed4564266e5" providerId="Windows Live" clId="Web-{41A85987-7641-4781-9A3C-B32B5625BFBE}" dt="2025-04-10T21:06:38.531" v="103" actId="1076"/>
        <pc:sldMkLst>
          <pc:docMk/>
          <pc:sldMk cId="3111324999" sldId="276"/>
        </pc:sldMkLst>
      </pc:sldChg>
      <pc:sldChg chg="modSp">
        <pc:chgData name="Rosali Corrales" userId="8d9d0ed4564266e5" providerId="Windows Live" clId="Web-{41A85987-7641-4781-9A3C-B32B5625BFBE}" dt="2025-04-10T21:05:20.450" v="94" actId="20577"/>
        <pc:sldMkLst>
          <pc:docMk/>
          <pc:sldMk cId="3013474433" sldId="344"/>
        </pc:sldMkLst>
      </pc:sldChg>
    </pc:docChg>
  </pc:docChgLst>
  <pc:docChgLst>
    <pc:chgData name="Rosali Corrales" userId="8d9d0ed4564266e5" providerId="Windows Live" clId="Web-{C7C2CE21-6509-4530-AF2D-56C49C9495D0}"/>
    <pc:docChg chg="modSld">
      <pc:chgData name="Rosali Corrales" userId="8d9d0ed4564266e5" providerId="Windows Live" clId="Web-{C7C2CE21-6509-4530-AF2D-56C49C9495D0}" dt="2025-04-08T23:52:00.979" v="11" actId="20577"/>
      <pc:docMkLst>
        <pc:docMk/>
      </pc:docMkLst>
      <pc:sldChg chg="modSp">
        <pc:chgData name="Rosali Corrales" userId="8d9d0ed4564266e5" providerId="Windows Live" clId="Web-{C7C2CE21-6509-4530-AF2D-56C49C9495D0}" dt="2025-04-08T23:52:00.979" v="11" actId="20577"/>
        <pc:sldMkLst>
          <pc:docMk/>
          <pc:sldMk cId="2266295805" sldId="271"/>
        </pc:sldMkLst>
      </pc:sldChg>
    </pc:docChg>
  </pc:docChgLst>
  <pc:docChgLst>
    <pc:chgData name="wen fong wang" userId="110c6fba90ab9ee8" providerId="Windows Live" clId="Web-{85039928-5BDF-4514-BE5C-32BBB553605E}"/>
    <pc:docChg chg="modSld">
      <pc:chgData name="wen fong wang" userId="110c6fba90ab9ee8" providerId="Windows Live" clId="Web-{85039928-5BDF-4514-BE5C-32BBB553605E}" dt="2025-04-10T00:06:37.855" v="49" actId="1076"/>
      <pc:docMkLst>
        <pc:docMk/>
      </pc:docMkLst>
      <pc:sldChg chg="addSp delSp modSp">
        <pc:chgData name="wen fong wang" userId="110c6fba90ab9ee8" providerId="Windows Live" clId="Web-{85039928-5BDF-4514-BE5C-32BBB553605E}" dt="2025-04-10T00:06:37.855" v="49" actId="1076"/>
        <pc:sldMkLst>
          <pc:docMk/>
          <pc:sldMk cId="2320476712" sldId="286"/>
        </pc:sldMkLst>
      </pc:sldChg>
    </pc:docChg>
  </pc:docChgLst>
  <pc:docChgLst>
    <pc:chgData name="Rosali Corrales" userId="8d9d0ed4564266e5" providerId="Windows Live" clId="Web-{21651ED2-4FB1-440C-A33C-BA2D3E913CBA}"/>
    <pc:docChg chg="modSld">
      <pc:chgData name="Rosali Corrales" userId="8d9d0ed4564266e5" providerId="Windows Live" clId="Web-{21651ED2-4FB1-440C-A33C-BA2D3E913CBA}" dt="2025-04-12T03:01:03.030" v="1" actId="20577"/>
      <pc:docMkLst>
        <pc:docMk/>
      </pc:docMkLst>
      <pc:sldChg chg="modSp">
        <pc:chgData name="Rosali Corrales" userId="8d9d0ed4564266e5" providerId="Windows Live" clId="Web-{21651ED2-4FB1-440C-A33C-BA2D3E913CBA}" dt="2025-04-12T03:01:03.030" v="1" actId="20577"/>
        <pc:sldMkLst>
          <pc:docMk/>
          <pc:sldMk cId="3103711945" sldId="1896"/>
        </pc:sldMkLst>
        <pc:spChg chg="mod">
          <ac:chgData name="Rosali Corrales" userId="8d9d0ed4564266e5" providerId="Windows Live" clId="Web-{21651ED2-4FB1-440C-A33C-BA2D3E913CBA}" dt="2025-04-12T03:01:03.030" v="1" actId="20577"/>
          <ac:spMkLst>
            <pc:docMk/>
            <pc:sldMk cId="3103711945" sldId="1896"/>
            <ac:spMk id="3" creationId="{9BCF4219-4486-DDEB-84C5-E91131A062A0}"/>
          </ac:spMkLst>
        </pc:spChg>
      </pc:sldChg>
    </pc:docChg>
  </pc:docChgLst>
  <pc:docChgLst>
    <pc:chgData name="Rosali Corrales" userId="8d9d0ed4564266e5" providerId="Windows Live" clId="Web-{C3555B38-DFDC-48D4-8774-033F456C3C28}"/>
    <pc:docChg chg="addSld delSld modSld">
      <pc:chgData name="Rosali Corrales" userId="8d9d0ed4564266e5" providerId="Windows Live" clId="Web-{C3555B38-DFDC-48D4-8774-033F456C3C28}" dt="2025-04-10T20:44:13.514" v="88" actId="1076"/>
      <pc:docMkLst>
        <pc:docMk/>
      </pc:docMkLst>
      <pc:sldChg chg="addSp delSp modSp addAnim delAnim">
        <pc:chgData name="Rosali Corrales" userId="8d9d0ed4564266e5" providerId="Windows Live" clId="Web-{C3555B38-DFDC-48D4-8774-033F456C3C28}" dt="2025-04-10T20:44:13.514" v="88" actId="1076"/>
        <pc:sldMkLst>
          <pc:docMk/>
          <pc:sldMk cId="3111324999" sldId="276"/>
        </pc:sldMkLst>
      </pc:sldChg>
      <pc:sldChg chg="add del replId">
        <pc:chgData name="Rosali Corrales" userId="8d9d0ed4564266e5" providerId="Windows Live" clId="Web-{C3555B38-DFDC-48D4-8774-033F456C3C28}" dt="2025-04-10T20:42:25.843" v="83"/>
        <pc:sldMkLst>
          <pc:docMk/>
          <pc:sldMk cId="3959163308" sldId="343"/>
        </pc:sldMkLst>
      </pc:sldChg>
    </pc:docChg>
  </pc:docChgLst>
  <pc:docChgLst>
    <pc:chgData name="Minh Hieu Chu" userId="456c32a0d5ebc4ce" providerId="LiveId" clId="{DBBC106B-624F-4A7C-9EDC-5B980619B417}"/>
    <pc:docChg chg="undo custSel addSld delSld modSld sldOrd">
      <pc:chgData name="Minh Hieu Chu" userId="456c32a0d5ebc4ce" providerId="LiveId" clId="{DBBC106B-624F-4A7C-9EDC-5B980619B417}" dt="2025-04-14T21:11:37.708" v="4010" actId="14100"/>
      <pc:docMkLst>
        <pc:docMk/>
      </pc:docMkLst>
      <pc:sldChg chg="modSp mod">
        <pc:chgData name="Minh Hieu Chu" userId="456c32a0d5ebc4ce" providerId="LiveId" clId="{DBBC106B-624F-4A7C-9EDC-5B980619B417}" dt="2025-04-11T20:45:33.221" v="1207" actId="1076"/>
        <pc:sldMkLst>
          <pc:docMk/>
          <pc:sldMk cId="0" sldId="256"/>
        </pc:sldMkLst>
        <pc:spChg chg="mod">
          <ac:chgData name="Minh Hieu Chu" userId="456c32a0d5ebc4ce" providerId="LiveId" clId="{DBBC106B-624F-4A7C-9EDC-5B980619B417}" dt="2025-04-11T20:45:33.221" v="1207" actId="1076"/>
          <ac:spMkLst>
            <pc:docMk/>
            <pc:sldMk cId="0" sldId="256"/>
            <ac:spMk id="2" creationId="{00000000-0000-0000-0000-000000000000}"/>
          </ac:spMkLst>
        </pc:spChg>
      </pc:sldChg>
      <pc:sldChg chg="addSp delSp modSp add del mod">
        <pc:chgData name="Minh Hieu Chu" userId="456c32a0d5ebc4ce" providerId="LiveId" clId="{DBBC106B-624F-4A7C-9EDC-5B980619B417}" dt="2025-04-11T21:39:40.353" v="1788" actId="47"/>
        <pc:sldMkLst>
          <pc:docMk/>
          <pc:sldMk cId="2768251025" sldId="266"/>
        </pc:sldMkLst>
      </pc:sldChg>
      <pc:sldChg chg="modSp del mod ord">
        <pc:chgData name="Minh Hieu Chu" userId="456c32a0d5ebc4ce" providerId="LiveId" clId="{DBBC106B-624F-4A7C-9EDC-5B980619B417}" dt="2025-04-11T21:26:57.958" v="1604" actId="47"/>
        <pc:sldMkLst>
          <pc:docMk/>
          <pc:sldMk cId="2266295805" sldId="271"/>
        </pc:sldMkLst>
      </pc:sldChg>
      <pc:sldChg chg="del ord">
        <pc:chgData name="Minh Hieu Chu" userId="456c32a0d5ebc4ce" providerId="LiveId" clId="{DBBC106B-624F-4A7C-9EDC-5B980619B417}" dt="2025-04-11T22:38:39.875" v="2537" actId="47"/>
        <pc:sldMkLst>
          <pc:docMk/>
          <pc:sldMk cId="2118665944" sldId="272"/>
        </pc:sldMkLst>
      </pc:sldChg>
      <pc:sldChg chg="del">
        <pc:chgData name="Minh Hieu Chu" userId="456c32a0d5ebc4ce" providerId="LiveId" clId="{DBBC106B-624F-4A7C-9EDC-5B980619B417}" dt="2025-04-09T00:08:22.021" v="18" actId="47"/>
        <pc:sldMkLst>
          <pc:docMk/>
          <pc:sldMk cId="875505152" sldId="275"/>
        </pc:sldMkLst>
      </pc:sldChg>
      <pc:sldChg chg="del">
        <pc:chgData name="Minh Hieu Chu" userId="456c32a0d5ebc4ce" providerId="LiveId" clId="{DBBC106B-624F-4A7C-9EDC-5B980619B417}" dt="2025-04-12T02:03:45.729" v="3667" actId="47"/>
        <pc:sldMkLst>
          <pc:docMk/>
          <pc:sldMk cId="3111324999" sldId="276"/>
        </pc:sldMkLst>
      </pc:sldChg>
      <pc:sldChg chg="addSp delSp modSp del mod ord">
        <pc:chgData name="Minh Hieu Chu" userId="456c32a0d5ebc4ce" providerId="LiveId" clId="{DBBC106B-624F-4A7C-9EDC-5B980619B417}" dt="2025-04-10T15:01:20.289" v="380" actId="47"/>
        <pc:sldMkLst>
          <pc:docMk/>
          <pc:sldMk cId="4069873735" sldId="277"/>
        </pc:sldMkLst>
      </pc:sldChg>
      <pc:sldChg chg="del ord">
        <pc:chgData name="Minh Hieu Chu" userId="456c32a0d5ebc4ce" providerId="LiveId" clId="{DBBC106B-624F-4A7C-9EDC-5B980619B417}" dt="2025-04-11T22:05:12.039" v="2113" actId="47"/>
        <pc:sldMkLst>
          <pc:docMk/>
          <pc:sldMk cId="2297929887" sldId="278"/>
        </pc:sldMkLst>
      </pc:sldChg>
      <pc:sldChg chg="modSp del mod">
        <pc:chgData name="Minh Hieu Chu" userId="456c32a0d5ebc4ce" providerId="LiveId" clId="{DBBC106B-624F-4A7C-9EDC-5B980619B417}" dt="2025-04-10T21:13:12.468" v="942" actId="47"/>
        <pc:sldMkLst>
          <pc:docMk/>
          <pc:sldMk cId="2828062932" sldId="279"/>
        </pc:sldMkLst>
      </pc:sldChg>
      <pc:sldChg chg="add del">
        <pc:chgData name="Minh Hieu Chu" userId="456c32a0d5ebc4ce" providerId="LiveId" clId="{DBBC106B-624F-4A7C-9EDC-5B980619B417}" dt="2025-04-10T04:30:31.208" v="378" actId="47"/>
        <pc:sldMkLst>
          <pc:docMk/>
          <pc:sldMk cId="1938733071" sldId="280"/>
        </pc:sldMkLst>
      </pc:sldChg>
      <pc:sldChg chg="del">
        <pc:chgData name="Minh Hieu Chu" userId="456c32a0d5ebc4ce" providerId="LiveId" clId="{DBBC106B-624F-4A7C-9EDC-5B980619B417}" dt="2025-04-10T04:30:32.163" v="379" actId="47"/>
        <pc:sldMkLst>
          <pc:docMk/>
          <pc:sldMk cId="275357919" sldId="281"/>
        </pc:sldMkLst>
      </pc:sldChg>
      <pc:sldChg chg="modSp del mod ord">
        <pc:chgData name="Minh Hieu Chu" userId="456c32a0d5ebc4ce" providerId="LiveId" clId="{DBBC106B-624F-4A7C-9EDC-5B980619B417}" dt="2025-04-11T22:09:39.347" v="2168" actId="47"/>
        <pc:sldMkLst>
          <pc:docMk/>
          <pc:sldMk cId="494191694" sldId="282"/>
        </pc:sldMkLst>
      </pc:sldChg>
      <pc:sldChg chg="del">
        <pc:chgData name="Minh Hieu Chu" userId="456c32a0d5ebc4ce" providerId="LiveId" clId="{DBBC106B-624F-4A7C-9EDC-5B980619B417}" dt="2025-04-09T00:25:31.054" v="19" actId="47"/>
        <pc:sldMkLst>
          <pc:docMk/>
          <pc:sldMk cId="533402596" sldId="283"/>
        </pc:sldMkLst>
      </pc:sldChg>
      <pc:sldChg chg="delSp modSp del mod ord">
        <pc:chgData name="Minh Hieu Chu" userId="456c32a0d5ebc4ce" providerId="LiveId" clId="{DBBC106B-624F-4A7C-9EDC-5B980619B417}" dt="2025-04-12T01:54:01.596" v="3550" actId="47"/>
        <pc:sldMkLst>
          <pc:docMk/>
          <pc:sldMk cId="1653203052" sldId="284"/>
        </pc:sldMkLst>
      </pc:sldChg>
      <pc:sldChg chg="del ord">
        <pc:chgData name="Minh Hieu Chu" userId="456c32a0d5ebc4ce" providerId="LiveId" clId="{DBBC106B-624F-4A7C-9EDC-5B980619B417}" dt="2025-04-12T02:02:18.703" v="3656" actId="47"/>
        <pc:sldMkLst>
          <pc:docMk/>
          <pc:sldMk cId="2320476712" sldId="286"/>
        </pc:sldMkLst>
      </pc:sldChg>
      <pc:sldChg chg="del">
        <pc:chgData name="Minh Hieu Chu" userId="456c32a0d5ebc4ce" providerId="LiveId" clId="{DBBC106B-624F-4A7C-9EDC-5B980619B417}" dt="2025-04-12T02:02:15.395" v="3655" actId="47"/>
        <pc:sldMkLst>
          <pc:docMk/>
          <pc:sldMk cId="1235851373" sldId="287"/>
        </pc:sldMkLst>
      </pc:sldChg>
      <pc:sldChg chg="modSp del mod">
        <pc:chgData name="Minh Hieu Chu" userId="456c32a0d5ebc4ce" providerId="LiveId" clId="{DBBC106B-624F-4A7C-9EDC-5B980619B417}" dt="2025-04-12T01:00:35.600" v="2813" actId="47"/>
        <pc:sldMkLst>
          <pc:docMk/>
          <pc:sldMk cId="1489327096" sldId="288"/>
        </pc:sldMkLst>
      </pc:sldChg>
      <pc:sldChg chg="modSp del mod">
        <pc:chgData name="Minh Hieu Chu" userId="456c32a0d5ebc4ce" providerId="LiveId" clId="{DBBC106B-624F-4A7C-9EDC-5B980619B417}" dt="2025-04-12T01:00:35.600" v="2813" actId="47"/>
        <pc:sldMkLst>
          <pc:docMk/>
          <pc:sldMk cId="1310384478" sldId="289"/>
        </pc:sldMkLst>
      </pc:sldChg>
      <pc:sldChg chg="addSp delSp new del">
        <pc:chgData name="Minh Hieu Chu" userId="456c32a0d5ebc4ce" providerId="LiveId" clId="{DBBC106B-624F-4A7C-9EDC-5B980619B417}" dt="2025-04-08T22:30:40.415" v="5" actId="47"/>
        <pc:sldMkLst>
          <pc:docMk/>
          <pc:sldMk cId="1769056683" sldId="290"/>
        </pc:sldMkLst>
      </pc:sldChg>
      <pc:sldChg chg="delSp modSp add del mod ord">
        <pc:chgData name="Minh Hieu Chu" userId="456c32a0d5ebc4ce" providerId="LiveId" clId="{DBBC106B-624F-4A7C-9EDC-5B980619B417}" dt="2025-04-11T21:16:22.099" v="1447" actId="47"/>
        <pc:sldMkLst>
          <pc:docMk/>
          <pc:sldMk cId="3837236660" sldId="290"/>
        </pc:sldMkLst>
      </pc:sldChg>
      <pc:sldChg chg="del">
        <pc:chgData name="Minh Hieu Chu" userId="456c32a0d5ebc4ce" providerId="LiveId" clId="{DBBC106B-624F-4A7C-9EDC-5B980619B417}" dt="2025-04-10T21:37:27.798" v="1188" actId="47"/>
        <pc:sldMkLst>
          <pc:docMk/>
          <pc:sldMk cId="1874348626" sldId="291"/>
        </pc:sldMkLst>
      </pc:sldChg>
      <pc:sldChg chg="del">
        <pc:chgData name="Minh Hieu Chu" userId="456c32a0d5ebc4ce" providerId="LiveId" clId="{DBBC106B-624F-4A7C-9EDC-5B980619B417}" dt="2025-04-10T15:03:54.779" v="640" actId="47"/>
        <pc:sldMkLst>
          <pc:docMk/>
          <pc:sldMk cId="1235791972" sldId="292"/>
        </pc:sldMkLst>
      </pc:sldChg>
      <pc:sldChg chg="addSp delSp modSp add del mod modNotesTx">
        <pc:chgData name="Minh Hieu Chu" userId="456c32a0d5ebc4ce" providerId="LiveId" clId="{DBBC106B-624F-4A7C-9EDC-5B980619B417}" dt="2025-04-11T21:31:16.285" v="1636" actId="47"/>
        <pc:sldMkLst>
          <pc:docMk/>
          <pc:sldMk cId="92089267" sldId="320"/>
        </pc:sldMkLst>
      </pc:sldChg>
      <pc:sldChg chg="addSp delSp modSp add mod">
        <pc:chgData name="Minh Hieu Chu" userId="456c32a0d5ebc4ce" providerId="LiveId" clId="{DBBC106B-624F-4A7C-9EDC-5B980619B417}" dt="2025-04-11T20:47:12.660" v="1239" actId="20577"/>
        <pc:sldMkLst>
          <pc:docMk/>
          <pc:sldMk cId="1190567034" sldId="340"/>
        </pc:sldMkLst>
        <pc:spChg chg="mod">
          <ac:chgData name="Minh Hieu Chu" userId="456c32a0d5ebc4ce" providerId="LiveId" clId="{DBBC106B-624F-4A7C-9EDC-5B980619B417}" dt="2025-04-11T20:47:06.122" v="1224"/>
          <ac:spMkLst>
            <pc:docMk/>
            <pc:sldMk cId="1190567034" sldId="340"/>
            <ac:spMk id="4" creationId="{52033BA2-2207-2C87-A0CB-84907DE40A94}"/>
          </ac:spMkLst>
        </pc:spChg>
        <pc:spChg chg="mod">
          <ac:chgData name="Minh Hieu Chu" userId="456c32a0d5ebc4ce" providerId="LiveId" clId="{DBBC106B-624F-4A7C-9EDC-5B980619B417}" dt="2025-04-11T20:47:12.660" v="1239" actId="20577"/>
          <ac:spMkLst>
            <pc:docMk/>
            <pc:sldMk cId="1190567034" sldId="340"/>
            <ac:spMk id="5" creationId="{577F134E-2E35-957F-72C8-F4200257A97B}"/>
          </ac:spMkLst>
        </pc:spChg>
        <pc:spChg chg="mod">
          <ac:chgData name="Minh Hieu Chu" userId="456c32a0d5ebc4ce" providerId="LiveId" clId="{DBBC106B-624F-4A7C-9EDC-5B980619B417}" dt="2025-04-10T03:39:30.757" v="75"/>
          <ac:spMkLst>
            <pc:docMk/>
            <pc:sldMk cId="1190567034" sldId="340"/>
            <ac:spMk id="10" creationId="{2ABF188F-C6FA-ABCF-FBA9-8CF6CEE05BE3}"/>
          </ac:spMkLst>
        </pc:spChg>
        <pc:spChg chg="mod">
          <ac:chgData name="Minh Hieu Chu" userId="456c32a0d5ebc4ce" providerId="LiveId" clId="{DBBC106B-624F-4A7C-9EDC-5B980619B417}" dt="2025-04-10T03:39:30.757" v="75"/>
          <ac:spMkLst>
            <pc:docMk/>
            <pc:sldMk cId="1190567034" sldId="340"/>
            <ac:spMk id="11" creationId="{F31178A2-A626-E554-A928-024699DC2A6E}"/>
          </ac:spMkLst>
        </pc:spChg>
        <pc:spChg chg="mod">
          <ac:chgData name="Minh Hieu Chu" userId="456c32a0d5ebc4ce" providerId="LiveId" clId="{DBBC106B-624F-4A7C-9EDC-5B980619B417}" dt="2025-04-10T03:44:58.954" v="98" actId="113"/>
          <ac:spMkLst>
            <pc:docMk/>
            <pc:sldMk cId="1190567034" sldId="340"/>
            <ac:spMk id="48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4:19:26.173" v="234" actId="255"/>
          <ac:spMkLst>
            <pc:docMk/>
            <pc:sldMk cId="1190567034" sldId="340"/>
            <ac:spMk id="49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32.293" v="93" actId="207"/>
          <ac:spMkLst>
            <pc:docMk/>
            <pc:sldMk cId="1190567034" sldId="340"/>
            <ac:spMk id="50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57.524" v="97" actId="113"/>
          <ac:spMkLst>
            <pc:docMk/>
            <pc:sldMk cId="1190567034" sldId="340"/>
            <ac:spMk id="51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4:19:22.772" v="233" actId="255"/>
          <ac:spMkLst>
            <pc:docMk/>
            <pc:sldMk cId="1190567034" sldId="340"/>
            <ac:spMk id="52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27.957" v="91" actId="207"/>
          <ac:spMkLst>
            <pc:docMk/>
            <pc:sldMk cId="1190567034" sldId="340"/>
            <ac:spMk id="53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53.800" v="95" actId="113"/>
          <ac:spMkLst>
            <pc:docMk/>
            <pc:sldMk cId="1190567034" sldId="340"/>
            <ac:spMk id="60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4:19:11.647" v="231" actId="255"/>
          <ac:spMkLst>
            <pc:docMk/>
            <pc:sldMk cId="1190567034" sldId="340"/>
            <ac:spMk id="61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09.561" v="87" actId="207"/>
          <ac:spMkLst>
            <pc:docMk/>
            <pc:sldMk cId="1190567034" sldId="340"/>
            <ac:spMk id="62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55.662" v="96" actId="113"/>
          <ac:spMkLst>
            <pc:docMk/>
            <pc:sldMk cId="1190567034" sldId="340"/>
            <ac:spMk id="76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4:19:18.737" v="232" actId="255"/>
          <ac:spMkLst>
            <pc:docMk/>
            <pc:sldMk cId="1190567034" sldId="340"/>
            <ac:spMk id="77" creationId="{00000000-0000-0000-0000-000000000000}"/>
          </ac:spMkLst>
        </pc:spChg>
        <pc:spChg chg="mod">
          <ac:chgData name="Minh Hieu Chu" userId="456c32a0d5ebc4ce" providerId="LiveId" clId="{DBBC106B-624F-4A7C-9EDC-5B980619B417}" dt="2025-04-10T03:44:16.624" v="89" actId="207"/>
          <ac:spMkLst>
            <pc:docMk/>
            <pc:sldMk cId="1190567034" sldId="340"/>
            <ac:spMk id="85" creationId="{00000000-0000-0000-0000-000000000000}"/>
          </ac:spMkLst>
        </pc:spChg>
        <pc:grpChg chg="add mod">
          <ac:chgData name="Minh Hieu Chu" userId="456c32a0d5ebc4ce" providerId="LiveId" clId="{DBBC106B-624F-4A7C-9EDC-5B980619B417}" dt="2025-04-11T20:47:06.122" v="1224"/>
          <ac:grpSpMkLst>
            <pc:docMk/>
            <pc:sldMk cId="1190567034" sldId="340"/>
            <ac:grpSpMk id="2" creationId="{39794F24-CAC1-E353-AC5E-1B9B2680BAC4}"/>
          </ac:grpSpMkLst>
        </pc:grpChg>
        <pc:grpChg chg="add mod">
          <ac:chgData name="Minh Hieu Chu" userId="456c32a0d5ebc4ce" providerId="LiveId" clId="{DBBC106B-624F-4A7C-9EDC-5B980619B417}" dt="2025-04-10T03:39:30.757" v="75"/>
          <ac:grpSpMkLst>
            <pc:docMk/>
            <pc:sldMk cId="1190567034" sldId="340"/>
            <ac:grpSpMk id="9" creationId="{0E261A84-80B4-F844-B908-BA33D238A640}"/>
          </ac:grpSpMkLst>
        </pc:grpChg>
        <pc:grpChg chg="mod">
          <ac:chgData name="Minh Hieu Chu" userId="456c32a0d5ebc4ce" providerId="LiveId" clId="{DBBC106B-624F-4A7C-9EDC-5B980619B417}" dt="2025-04-10T04:19:36.837" v="261" actId="1035"/>
          <ac:grpSpMkLst>
            <pc:docMk/>
            <pc:sldMk cId="1190567034" sldId="340"/>
            <ac:grpSpMk id="25" creationId="{B38A0C43-94F9-4EFF-A6CA-8E00B80E4115}"/>
          </ac:grpSpMkLst>
        </pc:grpChg>
        <pc:grpChg chg="mod">
          <ac:chgData name="Minh Hieu Chu" userId="456c32a0d5ebc4ce" providerId="LiveId" clId="{DBBC106B-624F-4A7C-9EDC-5B980619B417}" dt="2025-04-10T04:19:46.011" v="262" actId="465"/>
          <ac:grpSpMkLst>
            <pc:docMk/>
            <pc:sldMk cId="1190567034" sldId="340"/>
            <ac:grpSpMk id="26" creationId="{8A941DE5-D276-4548-96A2-62D6B6796B63}"/>
          </ac:grpSpMkLst>
        </pc:grpChg>
        <pc:grpChg chg="mod">
          <ac:chgData name="Minh Hieu Chu" userId="456c32a0d5ebc4ce" providerId="LiveId" clId="{DBBC106B-624F-4A7C-9EDC-5B980619B417}" dt="2025-04-10T04:19:46.011" v="262" actId="465"/>
          <ac:grpSpMkLst>
            <pc:docMk/>
            <pc:sldMk cId="1190567034" sldId="340"/>
            <ac:grpSpMk id="27" creationId="{6319E56D-ABEA-4165-8ACB-58D6579EA7AC}"/>
          </ac:grpSpMkLst>
        </pc:grpChg>
        <pc:picChg chg="add mod">
          <ac:chgData name="Minh Hieu Chu" userId="456c32a0d5ebc4ce" providerId="LiveId" clId="{DBBC106B-624F-4A7C-9EDC-5B980619B417}" dt="2025-04-10T04:20:06.329" v="264"/>
          <ac:picMkLst>
            <pc:docMk/>
            <pc:sldMk cId="1190567034" sldId="340"/>
            <ac:picMk id="13" creationId="{C9001B3E-F3AA-4003-B168-FBF9DBE79DCC}"/>
          </ac:picMkLst>
        </pc:picChg>
      </pc:sldChg>
      <pc:sldChg chg="addSp delSp modSp add mod">
        <pc:chgData name="Minh Hieu Chu" userId="456c32a0d5ebc4ce" providerId="LiveId" clId="{DBBC106B-624F-4A7C-9EDC-5B980619B417}" dt="2025-04-11T21:15:54.652" v="1445" actId="2711"/>
        <pc:sldMkLst>
          <pc:docMk/>
          <pc:sldMk cId="1026869291" sldId="341"/>
        </pc:sldMkLst>
        <pc:spChg chg="mod">
          <ac:chgData name="Minh Hieu Chu" userId="456c32a0d5ebc4ce" providerId="LiveId" clId="{DBBC106B-624F-4A7C-9EDC-5B980619B417}" dt="2025-04-11T21:15:38.821" v="1444" actId="2711"/>
          <ac:spMkLst>
            <pc:docMk/>
            <pc:sldMk cId="1026869291" sldId="341"/>
            <ac:spMk id="4" creationId="{805705E0-7F72-B3F9-B93D-8347783F5355}"/>
          </ac:spMkLst>
        </pc:spChg>
        <pc:spChg chg="add mod">
          <ac:chgData name="Minh Hieu Chu" userId="456c32a0d5ebc4ce" providerId="LiveId" clId="{DBBC106B-624F-4A7C-9EDC-5B980619B417}" dt="2025-04-11T20:46:23.872" v="1216" actId="14100"/>
          <ac:spMkLst>
            <pc:docMk/>
            <pc:sldMk cId="1026869291" sldId="341"/>
            <ac:spMk id="5" creationId="{7A35A21F-92FE-A18A-96F8-31F9C0BC76AC}"/>
          </ac:spMkLst>
        </pc:spChg>
        <pc:spChg chg="add mod">
          <ac:chgData name="Minh Hieu Chu" userId="456c32a0d5ebc4ce" providerId="LiveId" clId="{DBBC106B-624F-4A7C-9EDC-5B980619B417}" dt="2025-04-11T20:44:57.626" v="1201" actId="164"/>
          <ac:spMkLst>
            <pc:docMk/>
            <pc:sldMk cId="1026869291" sldId="341"/>
            <ac:spMk id="6" creationId="{AE3708A4-798A-4F66-6D03-3030C7A18B06}"/>
          </ac:spMkLst>
        </pc:spChg>
        <pc:spChg chg="mod">
          <ac:chgData name="Minh Hieu Chu" userId="456c32a0d5ebc4ce" providerId="LiveId" clId="{DBBC106B-624F-4A7C-9EDC-5B980619B417}" dt="2025-04-11T21:15:38.821" v="1444" actId="2711"/>
          <ac:spMkLst>
            <pc:docMk/>
            <pc:sldMk cId="1026869291" sldId="341"/>
            <ac:spMk id="8" creationId="{EF499B17-4DAF-100C-CC1A-DD9849A6B709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0" creationId="{F20AA963-246D-E9F7-6F28-B5D678C07F57}"/>
          </ac:spMkLst>
        </pc:spChg>
        <pc:spChg chg="add mod or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1" creationId="{767D3B56-7104-D5F2-317E-6C7788CCC55A}"/>
          </ac:spMkLst>
        </pc:spChg>
        <pc:spChg chg="add mod">
          <ac:chgData name="Minh Hieu Chu" userId="456c32a0d5ebc4ce" providerId="LiveId" clId="{DBBC106B-624F-4A7C-9EDC-5B980619B417}" dt="2025-04-11T21:15:38.821" v="1444" actId="2711"/>
          <ac:spMkLst>
            <pc:docMk/>
            <pc:sldMk cId="1026869291" sldId="341"/>
            <ac:spMk id="12" creationId="{21A365F4-8AA9-A969-02B5-371F75E4BCBA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3" creationId="{B625598C-3E95-3C5D-1495-16AE231E21CE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4" creationId="{190B8068-0654-2F58-DAB5-AAC4772751F6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5" creationId="{E4769098-AAE1-1C1D-385C-F38BD3DFEF03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6" creationId="{E31CA741-9FDA-7288-2B15-4C295CEEF215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7" creationId="{0D371177-B2D1-D272-C068-154AF3168D27}"/>
          </ac:spMkLst>
        </pc:spChg>
        <pc:spChg chg="add mod">
          <ac:chgData name="Minh Hieu Chu" userId="456c32a0d5ebc4ce" providerId="LiveId" clId="{DBBC106B-624F-4A7C-9EDC-5B980619B417}" dt="2025-04-11T21:15:38.821" v="1444" actId="2711"/>
          <ac:spMkLst>
            <pc:docMk/>
            <pc:sldMk cId="1026869291" sldId="341"/>
            <ac:spMk id="18" creationId="{A014EB8A-6D5F-E508-4330-ACF3F49B5DB2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19" creationId="{1AB8B6AB-6065-0EAD-6511-DD4A5F66D765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22" creationId="{7C4098A6-A5F0-A91D-5279-7FEEA16EA5EB}"/>
          </ac:spMkLst>
        </pc:spChg>
        <pc:spChg chg="add mod">
          <ac:chgData name="Minh Hieu Chu" userId="456c32a0d5ebc4ce" providerId="LiveId" clId="{DBBC106B-624F-4A7C-9EDC-5B980619B417}" dt="2025-04-11T21:15:54.652" v="1445" actId="2711"/>
          <ac:spMkLst>
            <pc:docMk/>
            <pc:sldMk cId="1026869291" sldId="341"/>
            <ac:spMk id="23" creationId="{E1A90051-0066-10D6-0E45-3528F52D4623}"/>
          </ac:spMkLst>
        </pc:spChg>
        <pc:spChg chg="add mod">
          <ac:chgData name="Minh Hieu Chu" userId="456c32a0d5ebc4ce" providerId="LiveId" clId="{DBBC106B-624F-4A7C-9EDC-5B980619B417}" dt="2025-04-11T20:46:17.242" v="1214" actId="255"/>
          <ac:spMkLst>
            <pc:docMk/>
            <pc:sldMk cId="1026869291" sldId="341"/>
            <ac:spMk id="24" creationId="{9069F9B0-CAA2-8B48-A53E-CB20EA10E26F}"/>
          </ac:spMkLst>
        </pc:spChg>
        <pc:grpChg chg="add mod">
          <ac:chgData name="Minh Hieu Chu" userId="456c32a0d5ebc4ce" providerId="LiveId" clId="{DBBC106B-624F-4A7C-9EDC-5B980619B417}" dt="2025-04-11T20:44:57.626" v="1201" actId="164"/>
          <ac:grpSpMkLst>
            <pc:docMk/>
            <pc:sldMk cId="1026869291" sldId="341"/>
            <ac:grpSpMk id="7" creationId="{C1848328-C476-D88C-2A36-C7AC70F2744E}"/>
          </ac:grpSpMkLst>
        </pc:grpChg>
        <pc:picChg chg="add mod">
          <ac:chgData name="Minh Hieu Chu" userId="456c32a0d5ebc4ce" providerId="LiveId" clId="{DBBC106B-624F-4A7C-9EDC-5B980619B417}" dt="2025-04-10T20:53:11.313" v="791" actId="1076"/>
          <ac:picMkLst>
            <pc:docMk/>
            <pc:sldMk cId="1026869291" sldId="341"/>
            <ac:picMk id="21" creationId="{8778840A-6552-6683-031E-E1F39DD7B3FB}"/>
          </ac:picMkLst>
        </pc:picChg>
      </pc:sldChg>
      <pc:sldChg chg="addSp modSp add del mod">
        <pc:chgData name="Minh Hieu Chu" userId="456c32a0d5ebc4ce" providerId="LiveId" clId="{DBBC106B-624F-4A7C-9EDC-5B980619B417}" dt="2025-04-11T21:48:24.238" v="1929" actId="47"/>
        <pc:sldMkLst>
          <pc:docMk/>
          <pc:sldMk cId="3722583056" sldId="342"/>
        </pc:sldMkLst>
      </pc:sldChg>
      <pc:sldChg chg="addSp delSp modSp add del mod modNotesTx">
        <pc:chgData name="Minh Hieu Chu" userId="456c32a0d5ebc4ce" providerId="LiveId" clId="{DBBC106B-624F-4A7C-9EDC-5B980619B417}" dt="2025-04-11T21:32:55.004" v="1646" actId="47"/>
        <pc:sldMkLst>
          <pc:docMk/>
          <pc:sldMk cId="3289653729" sldId="343"/>
        </pc:sldMkLst>
      </pc:sldChg>
      <pc:sldChg chg="del ord">
        <pc:chgData name="Minh Hieu Chu" userId="456c32a0d5ebc4ce" providerId="LiveId" clId="{DBBC106B-624F-4A7C-9EDC-5B980619B417}" dt="2025-04-12T01:34:36.808" v="3262" actId="47"/>
        <pc:sldMkLst>
          <pc:docMk/>
          <pc:sldMk cId="3013474433" sldId="344"/>
        </pc:sldMkLst>
      </pc:sldChg>
      <pc:sldChg chg="del ord">
        <pc:chgData name="Minh Hieu Chu" userId="456c32a0d5ebc4ce" providerId="LiveId" clId="{DBBC106B-624F-4A7C-9EDC-5B980619B417}" dt="2025-04-12T00:51:37.744" v="2774" actId="47"/>
        <pc:sldMkLst>
          <pc:docMk/>
          <pc:sldMk cId="4137034099" sldId="345"/>
        </pc:sldMkLst>
      </pc:sldChg>
      <pc:sldChg chg="delSp new del mod">
        <pc:chgData name="Minh Hieu Chu" userId="456c32a0d5ebc4ce" providerId="LiveId" clId="{DBBC106B-624F-4A7C-9EDC-5B980619B417}" dt="2025-04-10T22:56:26.586" v="1198" actId="47"/>
        <pc:sldMkLst>
          <pc:docMk/>
          <pc:sldMk cId="975774786" sldId="346"/>
        </pc:sldMkLst>
      </pc:sldChg>
      <pc:sldChg chg="addSp delSp modSp add mod modAnim">
        <pc:chgData name="Minh Hieu Chu" userId="456c32a0d5ebc4ce" providerId="LiveId" clId="{DBBC106B-624F-4A7C-9EDC-5B980619B417}" dt="2025-04-11T21:16:04.585" v="1446" actId="2711"/>
        <pc:sldMkLst>
          <pc:docMk/>
          <pc:sldMk cId="3009830624" sldId="346"/>
        </pc:sldMkLst>
        <pc:spChg chg="mod">
          <ac:chgData name="Minh Hieu Chu" userId="456c32a0d5ebc4ce" providerId="LiveId" clId="{DBBC106B-624F-4A7C-9EDC-5B980619B417}" dt="2025-04-11T20:48:43.533" v="1263" actId="20577"/>
          <ac:spMkLst>
            <pc:docMk/>
            <pc:sldMk cId="3009830624" sldId="346"/>
            <ac:spMk id="5" creationId="{CD4368AA-EE80-F44A-CEBC-8564156B7676}"/>
          </ac:spMkLst>
        </pc:spChg>
        <pc:spChg chg="add mod">
          <ac:chgData name="Minh Hieu Chu" userId="456c32a0d5ebc4ce" providerId="LiveId" clId="{DBBC106B-624F-4A7C-9EDC-5B980619B417}" dt="2025-04-11T21:16:04.585" v="1446" actId="2711"/>
          <ac:spMkLst>
            <pc:docMk/>
            <pc:sldMk cId="3009830624" sldId="346"/>
            <ac:spMk id="7" creationId="{C1B21160-01FC-3EFA-C92F-EDA025963C5C}"/>
          </ac:spMkLst>
        </pc:spChg>
        <pc:spChg chg="add mod">
          <ac:chgData name="Minh Hieu Chu" userId="456c32a0d5ebc4ce" providerId="LiveId" clId="{DBBC106B-624F-4A7C-9EDC-5B980619B417}" dt="2025-04-11T21:11:00.272" v="1419" actId="12789"/>
          <ac:spMkLst>
            <pc:docMk/>
            <pc:sldMk cId="3009830624" sldId="346"/>
            <ac:spMk id="22" creationId="{B0A1A03C-BFF2-1352-3D00-B38FEE63DA00}"/>
          </ac:spMkLst>
        </pc:spChg>
        <pc:spChg chg="add mod ord">
          <ac:chgData name="Minh Hieu Chu" userId="456c32a0d5ebc4ce" providerId="LiveId" clId="{DBBC106B-624F-4A7C-9EDC-5B980619B417}" dt="2025-04-11T21:10:03.087" v="1412" actId="164"/>
          <ac:spMkLst>
            <pc:docMk/>
            <pc:sldMk cId="3009830624" sldId="346"/>
            <ac:spMk id="28" creationId="{EBA8AF06-091C-9494-479E-7CD2A74B100B}"/>
          </ac:spMkLst>
        </pc:spChg>
        <pc:grpChg chg="add mod">
          <ac:chgData name="Minh Hieu Chu" userId="456c32a0d5ebc4ce" providerId="LiveId" clId="{DBBC106B-624F-4A7C-9EDC-5B980619B417}" dt="2025-04-11T21:10:15.933" v="1413" actId="1076"/>
          <ac:grpSpMkLst>
            <pc:docMk/>
            <pc:sldMk cId="3009830624" sldId="346"/>
            <ac:grpSpMk id="29" creationId="{B22D5D75-BC44-D4C6-4F84-85E8110EB637}"/>
          </ac:grpSpMkLst>
        </pc:grpChg>
        <pc:picChg chg="add mod">
          <ac:chgData name="Minh Hieu Chu" userId="456c32a0d5ebc4ce" providerId="LiveId" clId="{DBBC106B-624F-4A7C-9EDC-5B980619B417}" dt="2025-04-11T21:10:03.087" v="1412" actId="164"/>
          <ac:picMkLst>
            <pc:docMk/>
            <pc:sldMk cId="3009830624" sldId="346"/>
            <ac:picMk id="3" creationId="{00CF7A43-E517-35DB-326C-74E0E6CC1D7A}"/>
          </ac:picMkLst>
        </pc:picChg>
      </pc:sldChg>
      <pc:sldChg chg="addSp delSp modSp add del mod">
        <pc:chgData name="Minh Hieu Chu" userId="456c32a0d5ebc4ce" providerId="LiveId" clId="{DBBC106B-624F-4A7C-9EDC-5B980619B417}" dt="2025-04-11T21:26:03.619" v="1595" actId="47"/>
        <pc:sldMkLst>
          <pc:docMk/>
          <pc:sldMk cId="4178365719" sldId="347"/>
        </pc:sldMkLst>
      </pc:sldChg>
      <pc:sldChg chg="add del">
        <pc:chgData name="Minh Hieu Chu" userId="456c32a0d5ebc4ce" providerId="LiveId" clId="{DBBC106B-624F-4A7C-9EDC-5B980619B417}" dt="2025-04-11T21:11:52.606" v="1433" actId="47"/>
        <pc:sldMkLst>
          <pc:docMk/>
          <pc:sldMk cId="720621236" sldId="348"/>
        </pc:sldMkLst>
      </pc:sldChg>
      <pc:sldChg chg="addSp delSp modSp add mod">
        <pc:chgData name="Minh Hieu Chu" userId="456c32a0d5ebc4ce" providerId="LiveId" clId="{DBBC106B-624F-4A7C-9EDC-5B980619B417}" dt="2025-04-11T22:17:01.666" v="2220" actId="34135"/>
        <pc:sldMkLst>
          <pc:docMk/>
          <pc:sldMk cId="845158394" sldId="348"/>
        </pc:sldMkLst>
        <pc:spChg chg="add mod">
          <ac:chgData name="Minh Hieu Chu" userId="456c32a0d5ebc4ce" providerId="LiveId" clId="{DBBC106B-624F-4A7C-9EDC-5B980619B417}" dt="2025-04-11T22:06:07.739" v="2120" actId="20577"/>
          <ac:spMkLst>
            <pc:docMk/>
            <pc:sldMk cId="845158394" sldId="348"/>
            <ac:spMk id="3" creationId="{30488748-32AE-162A-F0C9-518BCE60D0AD}"/>
          </ac:spMkLst>
        </pc:spChg>
        <pc:spChg chg="mod">
          <ac:chgData name="Minh Hieu Chu" userId="456c32a0d5ebc4ce" providerId="LiveId" clId="{DBBC106B-624F-4A7C-9EDC-5B980619B417}" dt="2025-04-11T22:05:50.371" v="2116"/>
          <ac:spMkLst>
            <pc:docMk/>
            <pc:sldMk cId="845158394" sldId="348"/>
            <ac:spMk id="5" creationId="{91CF4C20-A9DC-E09E-F387-024723468444}"/>
          </ac:spMkLst>
        </pc:spChg>
        <pc:spChg chg="add mod">
          <ac:chgData name="Minh Hieu Chu" userId="456c32a0d5ebc4ce" providerId="LiveId" clId="{DBBC106B-624F-4A7C-9EDC-5B980619B417}" dt="2025-04-11T22:16:49.706" v="2218" actId="14100"/>
          <ac:spMkLst>
            <pc:docMk/>
            <pc:sldMk cId="845158394" sldId="348"/>
            <ac:spMk id="14" creationId="{4231F1D5-E969-6CAD-EB73-C1CF16576F01}"/>
          </ac:spMkLst>
        </pc:spChg>
        <pc:spChg chg="add mod ord">
          <ac:chgData name="Minh Hieu Chu" userId="456c32a0d5ebc4ce" providerId="LiveId" clId="{DBBC106B-624F-4A7C-9EDC-5B980619B417}" dt="2025-04-11T22:16:55.933" v="2219" actId="34135"/>
          <ac:spMkLst>
            <pc:docMk/>
            <pc:sldMk cId="845158394" sldId="348"/>
            <ac:spMk id="15" creationId="{5B0E7BDE-18CF-2D28-4D93-6763F0874E92}"/>
          </ac:spMkLst>
        </pc:spChg>
        <pc:spChg chg="add mod ord">
          <ac:chgData name="Minh Hieu Chu" userId="456c32a0d5ebc4ce" providerId="LiveId" clId="{DBBC106B-624F-4A7C-9EDC-5B980619B417}" dt="2025-04-11T22:16:55.933" v="2219" actId="34135"/>
          <ac:spMkLst>
            <pc:docMk/>
            <pc:sldMk cId="845158394" sldId="348"/>
            <ac:spMk id="16" creationId="{7AEE7BA1-EE45-2105-4057-E0A7F6271D43}"/>
          </ac:spMkLst>
        </pc:spChg>
        <pc:picChg chg="add mod">
          <ac:chgData name="Minh Hieu Chu" userId="456c32a0d5ebc4ce" providerId="LiveId" clId="{DBBC106B-624F-4A7C-9EDC-5B980619B417}" dt="2025-04-11T22:17:01.666" v="2220" actId="34135"/>
          <ac:picMkLst>
            <pc:docMk/>
            <pc:sldMk cId="845158394" sldId="348"/>
            <ac:picMk id="7" creationId="{BEC6153A-CEED-4009-41B2-243002FF7871}"/>
          </ac:picMkLst>
        </pc:picChg>
      </pc:sldChg>
      <pc:sldChg chg="add del">
        <pc:chgData name="Minh Hieu Chu" userId="456c32a0d5ebc4ce" providerId="LiveId" clId="{DBBC106B-624F-4A7C-9EDC-5B980619B417}" dt="2025-04-11T21:27:02.876" v="1605" actId="2696"/>
        <pc:sldMkLst>
          <pc:docMk/>
          <pc:sldMk cId="901074791" sldId="348"/>
        </pc:sldMkLst>
      </pc:sldChg>
      <pc:sldChg chg="add del">
        <pc:chgData name="Minh Hieu Chu" userId="456c32a0d5ebc4ce" providerId="LiveId" clId="{DBBC106B-624F-4A7C-9EDC-5B980619B417}" dt="2025-04-11T21:27:02.876" v="1605" actId="2696"/>
        <pc:sldMkLst>
          <pc:docMk/>
          <pc:sldMk cId="1380971534" sldId="349"/>
        </pc:sldMkLst>
      </pc:sldChg>
      <pc:sldChg chg="addSp delSp modSp add mod">
        <pc:chgData name="Minh Hieu Chu" userId="456c32a0d5ebc4ce" providerId="LiveId" clId="{DBBC106B-624F-4A7C-9EDC-5B980619B417}" dt="2025-04-12T01:03:26.440" v="2832" actId="20577"/>
        <pc:sldMkLst>
          <pc:docMk/>
          <pc:sldMk cId="2794374870" sldId="349"/>
        </pc:sldMkLst>
        <pc:spChg chg="add mod">
          <ac:chgData name="Minh Hieu Chu" userId="456c32a0d5ebc4ce" providerId="LiveId" clId="{DBBC106B-624F-4A7C-9EDC-5B980619B417}" dt="2025-04-11T22:29:37.774" v="2371" actId="1076"/>
          <ac:spMkLst>
            <pc:docMk/>
            <pc:sldMk cId="2794374870" sldId="349"/>
            <ac:spMk id="3" creationId="{4C585394-E668-5D30-EDB9-E038A4D9B7D6}"/>
          </ac:spMkLst>
        </pc:spChg>
        <pc:spChg chg="mod">
          <ac:chgData name="Minh Hieu Chu" userId="456c32a0d5ebc4ce" providerId="LiveId" clId="{DBBC106B-624F-4A7C-9EDC-5B980619B417}" dt="2025-04-11T22:11:36.392" v="2170"/>
          <ac:spMkLst>
            <pc:docMk/>
            <pc:sldMk cId="2794374870" sldId="349"/>
            <ac:spMk id="5" creationId="{EE73FE0E-5380-AB32-E939-23D5268EE80A}"/>
          </ac:spMkLst>
        </pc:spChg>
        <pc:spChg chg="mod topLvl">
          <ac:chgData name="Minh Hieu Chu" userId="456c32a0d5ebc4ce" providerId="LiveId" clId="{DBBC106B-624F-4A7C-9EDC-5B980619B417}" dt="2025-04-12T01:03:17.711" v="2829" actId="20577"/>
          <ac:spMkLst>
            <pc:docMk/>
            <pc:sldMk cId="2794374870" sldId="349"/>
            <ac:spMk id="12" creationId="{641EA64F-F1FC-20AB-1EED-E01CC2F1EAD2}"/>
          </ac:spMkLst>
        </pc:spChg>
        <pc:spChg chg="mod topLvl">
          <ac:chgData name="Minh Hieu Chu" userId="456c32a0d5ebc4ce" providerId="LiveId" clId="{DBBC106B-624F-4A7C-9EDC-5B980619B417}" dt="2025-04-11T22:31:00.009" v="2391" actId="165"/>
          <ac:spMkLst>
            <pc:docMk/>
            <pc:sldMk cId="2794374870" sldId="349"/>
            <ac:spMk id="15" creationId="{DCA7ED06-0911-43CB-7D8F-70BA3E288B94}"/>
          </ac:spMkLst>
        </pc:spChg>
        <pc:spChg chg="mod topLvl">
          <ac:chgData name="Minh Hieu Chu" userId="456c32a0d5ebc4ce" providerId="LiveId" clId="{DBBC106B-624F-4A7C-9EDC-5B980619B417}" dt="2025-04-11T22:34:20.596" v="2479" actId="207"/>
          <ac:spMkLst>
            <pc:docMk/>
            <pc:sldMk cId="2794374870" sldId="349"/>
            <ac:spMk id="16" creationId="{04103BE3-C989-3F12-6502-041D9C139129}"/>
          </ac:spMkLst>
        </pc:spChg>
        <pc:spChg chg="mod topLvl">
          <ac:chgData name="Minh Hieu Chu" userId="456c32a0d5ebc4ce" providerId="LiveId" clId="{DBBC106B-624F-4A7C-9EDC-5B980619B417}" dt="2025-04-11T22:31:00.009" v="2391" actId="165"/>
          <ac:spMkLst>
            <pc:docMk/>
            <pc:sldMk cId="2794374870" sldId="349"/>
            <ac:spMk id="17" creationId="{3F36A9D3-F247-50E7-83F7-318F4C697B41}"/>
          </ac:spMkLst>
        </pc:spChg>
        <pc:spChg chg="mod topLvl">
          <ac:chgData name="Minh Hieu Chu" userId="456c32a0d5ebc4ce" providerId="LiveId" clId="{DBBC106B-624F-4A7C-9EDC-5B980619B417}" dt="2025-04-11T22:36:18.698" v="2517" actId="113"/>
          <ac:spMkLst>
            <pc:docMk/>
            <pc:sldMk cId="2794374870" sldId="349"/>
            <ac:spMk id="23" creationId="{3FE5EE55-B51B-186C-85E6-1480B0B6F78E}"/>
          </ac:spMkLst>
        </pc:spChg>
        <pc:spChg chg="mod topLvl">
          <ac:chgData name="Minh Hieu Chu" userId="456c32a0d5ebc4ce" providerId="LiveId" clId="{DBBC106B-624F-4A7C-9EDC-5B980619B417}" dt="2025-04-11T22:36:10.741" v="2512" actId="113"/>
          <ac:spMkLst>
            <pc:docMk/>
            <pc:sldMk cId="2794374870" sldId="349"/>
            <ac:spMk id="24" creationId="{4C0409B2-BA15-67B4-F7D0-5313DF7C24CD}"/>
          </ac:spMkLst>
        </pc:spChg>
        <pc:spChg chg="add mod topLvl">
          <ac:chgData name="Minh Hieu Chu" userId="456c32a0d5ebc4ce" providerId="LiveId" clId="{DBBC106B-624F-4A7C-9EDC-5B980619B417}" dt="2025-04-11T22:31:21.542" v="2411" actId="164"/>
          <ac:spMkLst>
            <pc:docMk/>
            <pc:sldMk cId="2794374870" sldId="349"/>
            <ac:spMk id="30" creationId="{5F6DE71E-71FB-17AB-9F1F-E4B8945ECFEC}"/>
          </ac:spMkLst>
        </pc:spChg>
        <pc:spChg chg="mod">
          <ac:chgData name="Minh Hieu Chu" userId="456c32a0d5ebc4ce" providerId="LiveId" clId="{DBBC106B-624F-4A7C-9EDC-5B980619B417}" dt="2025-04-12T01:03:20.066" v="2830" actId="20577"/>
          <ac:spMkLst>
            <pc:docMk/>
            <pc:sldMk cId="2794374870" sldId="349"/>
            <ac:spMk id="45" creationId="{5D722970-F71D-5709-1873-77CEBB3F7474}"/>
          </ac:spMkLst>
        </pc:spChg>
        <pc:spChg chg="mod">
          <ac:chgData name="Minh Hieu Chu" userId="456c32a0d5ebc4ce" providerId="LiveId" clId="{DBBC106B-624F-4A7C-9EDC-5B980619B417}" dt="2025-04-11T22:31:45.769" v="2418"/>
          <ac:spMkLst>
            <pc:docMk/>
            <pc:sldMk cId="2794374870" sldId="349"/>
            <ac:spMk id="47" creationId="{F26AC988-693D-5A4D-802D-027110AB17ED}"/>
          </ac:spMkLst>
        </pc:spChg>
        <pc:spChg chg="mod">
          <ac:chgData name="Minh Hieu Chu" userId="456c32a0d5ebc4ce" providerId="LiveId" clId="{DBBC106B-624F-4A7C-9EDC-5B980619B417}" dt="2025-04-11T22:36:17.797" v="2516" actId="113"/>
          <ac:spMkLst>
            <pc:docMk/>
            <pc:sldMk cId="2794374870" sldId="349"/>
            <ac:spMk id="50" creationId="{7B560DA4-41A2-244B-3FB1-694AD4E3FE9D}"/>
          </ac:spMkLst>
        </pc:spChg>
        <pc:spChg chg="mod">
          <ac:chgData name="Minh Hieu Chu" userId="456c32a0d5ebc4ce" providerId="LiveId" clId="{DBBC106B-624F-4A7C-9EDC-5B980619B417}" dt="2025-04-11T22:36:14.108" v="2513" actId="113"/>
          <ac:spMkLst>
            <pc:docMk/>
            <pc:sldMk cId="2794374870" sldId="349"/>
            <ac:spMk id="51" creationId="{C71F4D55-9271-C635-10AF-0BDAD4E67E02}"/>
          </ac:spMkLst>
        </pc:spChg>
        <pc:spChg chg="mod">
          <ac:chgData name="Minh Hieu Chu" userId="456c32a0d5ebc4ce" providerId="LiveId" clId="{DBBC106B-624F-4A7C-9EDC-5B980619B417}" dt="2025-04-11T22:31:22.937" v="2412"/>
          <ac:spMkLst>
            <pc:docMk/>
            <pc:sldMk cId="2794374870" sldId="349"/>
            <ac:spMk id="52" creationId="{67C45025-B19C-EF92-4FF1-6E087BCC1C00}"/>
          </ac:spMkLst>
        </pc:spChg>
        <pc:spChg chg="mod">
          <ac:chgData name="Minh Hieu Chu" userId="456c32a0d5ebc4ce" providerId="LiveId" clId="{DBBC106B-624F-4A7C-9EDC-5B980619B417}" dt="2025-04-11T22:34:19.262" v="2478" actId="207"/>
          <ac:spMkLst>
            <pc:docMk/>
            <pc:sldMk cId="2794374870" sldId="349"/>
            <ac:spMk id="53" creationId="{08C1D0F6-06BD-D238-E0D7-1350FBCD7586}"/>
          </ac:spMkLst>
        </pc:spChg>
        <pc:spChg chg="mod">
          <ac:chgData name="Minh Hieu Chu" userId="456c32a0d5ebc4ce" providerId="LiveId" clId="{DBBC106B-624F-4A7C-9EDC-5B980619B417}" dt="2025-04-11T22:32:37.443" v="2429" actId="20577"/>
          <ac:spMkLst>
            <pc:docMk/>
            <pc:sldMk cId="2794374870" sldId="349"/>
            <ac:spMk id="54" creationId="{36726304-BD78-1551-30E9-B73FCCAA86A5}"/>
          </ac:spMkLst>
        </pc:spChg>
        <pc:spChg chg="mod">
          <ac:chgData name="Minh Hieu Chu" userId="456c32a0d5ebc4ce" providerId="LiveId" clId="{DBBC106B-624F-4A7C-9EDC-5B980619B417}" dt="2025-04-12T01:03:26.440" v="2832" actId="20577"/>
          <ac:spMkLst>
            <pc:docMk/>
            <pc:sldMk cId="2794374870" sldId="349"/>
            <ac:spMk id="56" creationId="{87631075-CB6B-F64D-237F-6A2F093677B3}"/>
          </ac:spMkLst>
        </pc:spChg>
        <pc:spChg chg="mod">
          <ac:chgData name="Minh Hieu Chu" userId="456c32a0d5ebc4ce" providerId="LiveId" clId="{DBBC106B-624F-4A7C-9EDC-5B980619B417}" dt="2025-04-11T22:31:56.799" v="2419"/>
          <ac:spMkLst>
            <pc:docMk/>
            <pc:sldMk cId="2794374870" sldId="349"/>
            <ac:spMk id="58" creationId="{8CD7D5E6-CCF5-BFA4-DA90-4ACD6911BC26}"/>
          </ac:spMkLst>
        </pc:spChg>
        <pc:spChg chg="mod">
          <ac:chgData name="Minh Hieu Chu" userId="456c32a0d5ebc4ce" providerId="LiveId" clId="{DBBC106B-624F-4A7C-9EDC-5B980619B417}" dt="2025-04-11T22:36:16.824" v="2515" actId="113"/>
          <ac:spMkLst>
            <pc:docMk/>
            <pc:sldMk cId="2794374870" sldId="349"/>
            <ac:spMk id="61" creationId="{C3FCAFD7-ED93-E233-AF87-7812ED97545B}"/>
          </ac:spMkLst>
        </pc:spChg>
        <pc:spChg chg="mod">
          <ac:chgData name="Minh Hieu Chu" userId="456c32a0d5ebc4ce" providerId="LiveId" clId="{DBBC106B-624F-4A7C-9EDC-5B980619B417}" dt="2025-04-11T22:36:15.812" v="2514" actId="113"/>
          <ac:spMkLst>
            <pc:docMk/>
            <pc:sldMk cId="2794374870" sldId="349"/>
            <ac:spMk id="62" creationId="{F0CD0C32-BBB8-88E4-7F55-7C40319DB116}"/>
          </ac:spMkLst>
        </pc:spChg>
        <pc:spChg chg="mod">
          <ac:chgData name="Minh Hieu Chu" userId="456c32a0d5ebc4ce" providerId="LiveId" clId="{DBBC106B-624F-4A7C-9EDC-5B980619B417}" dt="2025-04-11T22:31:26.335" v="2414"/>
          <ac:spMkLst>
            <pc:docMk/>
            <pc:sldMk cId="2794374870" sldId="349"/>
            <ac:spMk id="63" creationId="{0C663410-2D80-5D93-1032-31730937DEC9}"/>
          </ac:spMkLst>
        </pc:spChg>
        <pc:spChg chg="mod">
          <ac:chgData name="Minh Hieu Chu" userId="456c32a0d5ebc4ce" providerId="LiveId" clId="{DBBC106B-624F-4A7C-9EDC-5B980619B417}" dt="2025-04-11T22:34:24.743" v="2480" actId="20577"/>
          <ac:spMkLst>
            <pc:docMk/>
            <pc:sldMk cId="2794374870" sldId="349"/>
            <ac:spMk id="64" creationId="{2246EC4D-F865-F9C9-5388-BE48046FFCF4}"/>
          </ac:spMkLst>
        </pc:spChg>
        <pc:spChg chg="mod">
          <ac:chgData name="Minh Hieu Chu" userId="456c32a0d5ebc4ce" providerId="LiveId" clId="{DBBC106B-624F-4A7C-9EDC-5B980619B417}" dt="2025-04-11T22:32:54.328" v="2445" actId="20577"/>
          <ac:spMkLst>
            <pc:docMk/>
            <pc:sldMk cId="2794374870" sldId="349"/>
            <ac:spMk id="65" creationId="{B4A00529-C3B3-7C72-3087-29FEC688542B}"/>
          </ac:spMkLst>
        </pc:spChg>
        <pc:grpChg chg="add mod">
          <ac:chgData name="Minh Hieu Chu" userId="456c32a0d5ebc4ce" providerId="LiveId" clId="{DBBC106B-624F-4A7C-9EDC-5B980619B417}" dt="2025-04-11T22:31:00.009" v="2391" actId="165"/>
          <ac:grpSpMkLst>
            <pc:docMk/>
            <pc:sldMk cId="2794374870" sldId="349"/>
            <ac:grpSpMk id="20" creationId="{D50329BF-B806-2239-045A-7AD5F69362E7}"/>
          </ac:grpSpMkLst>
        </pc:grpChg>
        <pc:grpChg chg="add mod topLvl">
          <ac:chgData name="Minh Hieu Chu" userId="456c32a0d5ebc4ce" providerId="LiveId" clId="{DBBC106B-624F-4A7C-9EDC-5B980619B417}" dt="2025-04-11T22:31:21.542" v="2411" actId="164"/>
          <ac:grpSpMkLst>
            <pc:docMk/>
            <pc:sldMk cId="2794374870" sldId="349"/>
            <ac:grpSpMk id="28" creationId="{D3E4BE32-78EB-9A67-EC64-1F325DBC45FC}"/>
          </ac:grpSpMkLst>
        </pc:grpChg>
        <pc:grpChg chg="add mod">
          <ac:chgData name="Minh Hieu Chu" userId="456c32a0d5ebc4ce" providerId="LiveId" clId="{DBBC106B-624F-4A7C-9EDC-5B980619B417}" dt="2025-04-11T22:33:50.551" v="2465" actId="1035"/>
          <ac:grpSpMkLst>
            <pc:docMk/>
            <pc:sldMk cId="2794374870" sldId="349"/>
            <ac:grpSpMk id="43" creationId="{79FB12F0-E01C-62EA-07E9-519595AFAD47}"/>
          </ac:grpSpMkLst>
        </pc:grpChg>
        <pc:grpChg chg="add mod">
          <ac:chgData name="Minh Hieu Chu" userId="456c32a0d5ebc4ce" providerId="LiveId" clId="{DBBC106B-624F-4A7C-9EDC-5B980619B417}" dt="2025-04-11T22:34:05.206" v="2474" actId="465"/>
          <ac:grpSpMkLst>
            <pc:docMk/>
            <pc:sldMk cId="2794374870" sldId="349"/>
            <ac:grpSpMk id="44" creationId="{521C40F8-1623-1E52-3B05-CEB7C9D9EE95}"/>
          </ac:grpSpMkLst>
        </pc:grpChg>
        <pc:grpChg chg="mod">
          <ac:chgData name="Minh Hieu Chu" userId="456c32a0d5ebc4ce" providerId="LiveId" clId="{DBBC106B-624F-4A7C-9EDC-5B980619B417}" dt="2025-04-11T22:31:22.937" v="2412"/>
          <ac:grpSpMkLst>
            <pc:docMk/>
            <pc:sldMk cId="2794374870" sldId="349"/>
            <ac:grpSpMk id="46" creationId="{2CFC901D-33B2-3C52-7D71-3C7FD9DA0489}"/>
          </ac:grpSpMkLst>
        </pc:grpChg>
        <pc:grpChg chg="mod">
          <ac:chgData name="Minh Hieu Chu" userId="456c32a0d5ebc4ce" providerId="LiveId" clId="{DBBC106B-624F-4A7C-9EDC-5B980619B417}" dt="2025-04-11T22:31:22.937" v="2412"/>
          <ac:grpSpMkLst>
            <pc:docMk/>
            <pc:sldMk cId="2794374870" sldId="349"/>
            <ac:grpSpMk id="49" creationId="{19CCDE67-2B83-A81B-1CA7-4445D07303F9}"/>
          </ac:grpSpMkLst>
        </pc:grpChg>
        <pc:grpChg chg="add mod">
          <ac:chgData name="Minh Hieu Chu" userId="456c32a0d5ebc4ce" providerId="LiveId" clId="{DBBC106B-624F-4A7C-9EDC-5B980619B417}" dt="2025-04-11T22:33:55.121" v="2473" actId="1036"/>
          <ac:grpSpMkLst>
            <pc:docMk/>
            <pc:sldMk cId="2794374870" sldId="349"/>
            <ac:grpSpMk id="55" creationId="{3AAD8A12-DCE4-2037-05E6-546D1D8F7F3A}"/>
          </ac:grpSpMkLst>
        </pc:grpChg>
        <pc:grpChg chg="mod">
          <ac:chgData name="Minh Hieu Chu" userId="456c32a0d5ebc4ce" providerId="LiveId" clId="{DBBC106B-624F-4A7C-9EDC-5B980619B417}" dt="2025-04-11T22:31:26.335" v="2414"/>
          <ac:grpSpMkLst>
            <pc:docMk/>
            <pc:sldMk cId="2794374870" sldId="349"/>
            <ac:grpSpMk id="57" creationId="{42A7F781-CEC3-B297-8D98-D365A5601711}"/>
          </ac:grpSpMkLst>
        </pc:grpChg>
        <pc:grpChg chg="mod">
          <ac:chgData name="Minh Hieu Chu" userId="456c32a0d5ebc4ce" providerId="LiveId" clId="{DBBC106B-624F-4A7C-9EDC-5B980619B417}" dt="2025-04-11T22:31:26.335" v="2414"/>
          <ac:grpSpMkLst>
            <pc:docMk/>
            <pc:sldMk cId="2794374870" sldId="349"/>
            <ac:grpSpMk id="60" creationId="{36F7525B-AC10-3A38-B08D-1D31C0E87706}"/>
          </ac:grpSpMkLst>
        </pc:grpChg>
        <pc:cxnChg chg="mod topLvl">
          <ac:chgData name="Minh Hieu Chu" userId="456c32a0d5ebc4ce" providerId="LiveId" clId="{DBBC106B-624F-4A7C-9EDC-5B980619B417}" dt="2025-04-11T22:26:33.589" v="2285" actId="164"/>
          <ac:cxnSpMkLst>
            <pc:docMk/>
            <pc:sldMk cId="2794374870" sldId="349"/>
            <ac:cxnSpMk id="8" creationId="{5D67DA0E-43B8-D250-CFB3-B1EF92E4C3A6}"/>
          </ac:cxnSpMkLst>
        </pc:cxnChg>
      </pc:sldChg>
      <pc:sldChg chg="add del">
        <pc:chgData name="Minh Hieu Chu" userId="456c32a0d5ebc4ce" providerId="LiveId" clId="{DBBC106B-624F-4A7C-9EDC-5B980619B417}" dt="2025-04-11T21:11:52.606" v="1433" actId="47"/>
        <pc:sldMkLst>
          <pc:docMk/>
          <pc:sldMk cId="3574967521" sldId="349"/>
        </pc:sldMkLst>
      </pc:sldChg>
      <pc:sldChg chg="add del">
        <pc:chgData name="Minh Hieu Chu" userId="456c32a0d5ebc4ce" providerId="LiveId" clId="{DBBC106B-624F-4A7C-9EDC-5B980619B417}" dt="2025-04-11T21:27:02.876" v="1605" actId="2696"/>
        <pc:sldMkLst>
          <pc:docMk/>
          <pc:sldMk cId="336245845" sldId="350"/>
        </pc:sldMkLst>
      </pc:sldChg>
      <pc:sldChg chg="addSp modSp add del mod">
        <pc:chgData name="Minh Hieu Chu" userId="456c32a0d5ebc4ce" providerId="LiveId" clId="{DBBC106B-624F-4A7C-9EDC-5B980619B417}" dt="2025-04-11T22:37:45.022" v="2525" actId="47"/>
        <pc:sldMkLst>
          <pc:docMk/>
          <pc:sldMk cId="1630825294" sldId="350"/>
        </pc:sldMkLst>
      </pc:sldChg>
      <pc:sldChg chg="add del">
        <pc:chgData name="Minh Hieu Chu" userId="456c32a0d5ebc4ce" providerId="LiveId" clId="{DBBC106B-624F-4A7C-9EDC-5B980619B417}" dt="2025-04-12T01:40:04.429" v="3368" actId="47"/>
        <pc:sldMkLst>
          <pc:docMk/>
          <pc:sldMk cId="2144789976" sldId="408"/>
        </pc:sldMkLst>
      </pc:sldChg>
      <pc:sldChg chg="add del">
        <pc:chgData name="Minh Hieu Chu" userId="456c32a0d5ebc4ce" providerId="LiveId" clId="{DBBC106B-624F-4A7C-9EDC-5B980619B417}" dt="2025-04-11T21:26:55.095" v="1603" actId="47"/>
        <pc:sldMkLst>
          <pc:docMk/>
          <pc:sldMk cId="1032017574" sldId="1886"/>
        </pc:sldMkLst>
      </pc:sldChg>
      <pc:sldChg chg="addSp delSp modSp add mod">
        <pc:chgData name="Minh Hieu Chu" userId="456c32a0d5ebc4ce" providerId="LiveId" clId="{DBBC106B-624F-4A7C-9EDC-5B980619B417}" dt="2025-04-12T00:29:46.429" v="2634" actId="465"/>
        <pc:sldMkLst>
          <pc:docMk/>
          <pc:sldMk cId="1165568178" sldId="1887"/>
        </pc:sldMkLst>
        <pc:spChg chg="mod topLvl">
          <ac:chgData name="Minh Hieu Chu" userId="456c32a0d5ebc4ce" providerId="LiveId" clId="{DBBC106B-624F-4A7C-9EDC-5B980619B417}" dt="2025-04-11T21:26:23.335" v="1596" actId="207"/>
          <ac:spMkLst>
            <pc:docMk/>
            <pc:sldMk cId="1165568178" sldId="1887"/>
            <ac:spMk id="39" creationId="{7763E52C-6DCB-FFFF-3A50-DBA93C7C34BC}"/>
          </ac:spMkLst>
        </pc:spChg>
        <pc:spChg chg="mod">
          <ac:chgData name="Minh Hieu Chu" userId="456c32a0d5ebc4ce" providerId="LiveId" clId="{DBBC106B-624F-4A7C-9EDC-5B980619B417}" dt="2025-04-11T21:23:44.838" v="1547" actId="165"/>
          <ac:spMkLst>
            <pc:docMk/>
            <pc:sldMk cId="1165568178" sldId="1887"/>
            <ac:spMk id="41" creationId="{2B2C39FF-3F68-7359-E16C-BA0DA1818618}"/>
          </ac:spMkLst>
        </pc:spChg>
        <pc:spChg chg="mod">
          <ac:chgData name="Minh Hieu Chu" userId="456c32a0d5ebc4ce" providerId="LiveId" clId="{DBBC106B-624F-4A7C-9EDC-5B980619B417}" dt="2025-04-11T21:23:44.838" v="1547" actId="165"/>
          <ac:spMkLst>
            <pc:docMk/>
            <pc:sldMk cId="1165568178" sldId="1887"/>
            <ac:spMk id="43" creationId="{AB517B08-CE65-5EEE-D2B0-FE25F7752EF7}"/>
          </ac:spMkLst>
        </pc:spChg>
        <pc:spChg chg="mod">
          <ac:chgData name="Minh Hieu Chu" userId="456c32a0d5ebc4ce" providerId="LiveId" clId="{DBBC106B-624F-4A7C-9EDC-5B980619B417}" dt="2025-04-11T21:23:44.838" v="1547" actId="165"/>
          <ac:spMkLst>
            <pc:docMk/>
            <pc:sldMk cId="1165568178" sldId="1887"/>
            <ac:spMk id="45" creationId="{327AD0BD-AB52-6133-7FD5-753D034CEC40}"/>
          </ac:spMkLst>
        </pc:spChg>
        <pc:spChg chg="mod">
          <ac:chgData name="Minh Hieu Chu" userId="456c32a0d5ebc4ce" providerId="LiveId" clId="{DBBC106B-624F-4A7C-9EDC-5B980619B417}" dt="2025-04-11T21:26:29.431" v="1598" actId="207"/>
          <ac:spMkLst>
            <pc:docMk/>
            <pc:sldMk cId="1165568178" sldId="1887"/>
            <ac:spMk id="141" creationId="{4765AE87-9F7E-4804-0B1A-2630060190F9}"/>
          </ac:spMkLst>
        </pc:spChg>
        <pc:spChg chg="mod">
          <ac:chgData name="Minh Hieu Chu" userId="456c32a0d5ebc4ce" providerId="LiveId" clId="{DBBC106B-624F-4A7C-9EDC-5B980619B417}" dt="2025-04-11T21:24:58.040" v="1572"/>
          <ac:spMkLst>
            <pc:docMk/>
            <pc:sldMk cId="1165568178" sldId="1887"/>
            <ac:spMk id="143" creationId="{DA23FF74-6FDD-6EB8-3864-B973E9B8E7E7}"/>
          </ac:spMkLst>
        </pc:spChg>
        <pc:spChg chg="mod">
          <ac:chgData name="Minh Hieu Chu" userId="456c32a0d5ebc4ce" providerId="LiveId" clId="{DBBC106B-624F-4A7C-9EDC-5B980619B417}" dt="2025-04-11T21:24:58.040" v="1572"/>
          <ac:spMkLst>
            <pc:docMk/>
            <pc:sldMk cId="1165568178" sldId="1887"/>
            <ac:spMk id="145" creationId="{C339E155-D26C-20D1-E8B9-9B39956C9D3D}"/>
          </ac:spMkLst>
        </pc:spChg>
        <pc:spChg chg="mod">
          <ac:chgData name="Minh Hieu Chu" userId="456c32a0d5ebc4ce" providerId="LiveId" clId="{DBBC106B-624F-4A7C-9EDC-5B980619B417}" dt="2025-04-11T21:24:58.040" v="1572"/>
          <ac:spMkLst>
            <pc:docMk/>
            <pc:sldMk cId="1165568178" sldId="1887"/>
            <ac:spMk id="146" creationId="{0DDAAA9D-0359-4092-86F8-8EF209E24153}"/>
          </ac:spMkLst>
        </pc:spChg>
        <pc:spChg chg="mod">
          <ac:chgData name="Minh Hieu Chu" userId="456c32a0d5ebc4ce" providerId="LiveId" clId="{DBBC106B-624F-4A7C-9EDC-5B980619B417}" dt="2025-04-11T21:26:35.258" v="1602" actId="207"/>
          <ac:spMkLst>
            <pc:docMk/>
            <pc:sldMk cId="1165568178" sldId="1887"/>
            <ac:spMk id="150" creationId="{09E16D57-44AB-511C-4F14-A539643131DD}"/>
          </ac:spMkLst>
        </pc:spChg>
        <pc:spChg chg="mod">
          <ac:chgData name="Minh Hieu Chu" userId="456c32a0d5ebc4ce" providerId="LiveId" clId="{DBBC106B-624F-4A7C-9EDC-5B980619B417}" dt="2025-04-11T21:24:58.526" v="1573"/>
          <ac:spMkLst>
            <pc:docMk/>
            <pc:sldMk cId="1165568178" sldId="1887"/>
            <ac:spMk id="152" creationId="{E9D445DC-1D60-0801-23E9-D072CA01E82B}"/>
          </ac:spMkLst>
        </pc:spChg>
        <pc:spChg chg="mod">
          <ac:chgData name="Minh Hieu Chu" userId="456c32a0d5ebc4ce" providerId="LiveId" clId="{DBBC106B-624F-4A7C-9EDC-5B980619B417}" dt="2025-04-11T21:24:58.526" v="1573"/>
          <ac:spMkLst>
            <pc:docMk/>
            <pc:sldMk cId="1165568178" sldId="1887"/>
            <ac:spMk id="154" creationId="{FFD0B3F6-AA0F-81EF-201E-B98D64E5447F}"/>
          </ac:spMkLst>
        </pc:spChg>
        <pc:spChg chg="mod">
          <ac:chgData name="Minh Hieu Chu" userId="456c32a0d5ebc4ce" providerId="LiveId" clId="{DBBC106B-624F-4A7C-9EDC-5B980619B417}" dt="2025-04-11T21:24:58.526" v="1573"/>
          <ac:spMkLst>
            <pc:docMk/>
            <pc:sldMk cId="1165568178" sldId="1887"/>
            <ac:spMk id="155" creationId="{5449047C-D89A-D8B7-8038-049EFD490E79}"/>
          </ac:spMkLst>
        </pc:spChg>
        <pc:spChg chg="mod">
          <ac:chgData name="Minh Hieu Chu" userId="456c32a0d5ebc4ce" providerId="LiveId" clId="{DBBC106B-624F-4A7C-9EDC-5B980619B417}" dt="2025-04-11T21:26:26.211" v="1597" actId="207"/>
          <ac:spMkLst>
            <pc:docMk/>
            <pc:sldMk cId="1165568178" sldId="1887"/>
            <ac:spMk id="159" creationId="{786075B4-DC18-A2F7-FF7F-BF76D969D1EC}"/>
          </ac:spMkLst>
        </pc:spChg>
        <pc:spChg chg="mod">
          <ac:chgData name="Minh Hieu Chu" userId="456c32a0d5ebc4ce" providerId="LiveId" clId="{DBBC106B-624F-4A7C-9EDC-5B980619B417}" dt="2025-04-11T21:25:00.923" v="1576"/>
          <ac:spMkLst>
            <pc:docMk/>
            <pc:sldMk cId="1165568178" sldId="1887"/>
            <ac:spMk id="161" creationId="{A4EC045A-A715-82C4-613D-EDB469759567}"/>
          </ac:spMkLst>
        </pc:spChg>
        <pc:spChg chg="mod">
          <ac:chgData name="Minh Hieu Chu" userId="456c32a0d5ebc4ce" providerId="LiveId" clId="{DBBC106B-624F-4A7C-9EDC-5B980619B417}" dt="2025-04-11T21:25:00.923" v="1576"/>
          <ac:spMkLst>
            <pc:docMk/>
            <pc:sldMk cId="1165568178" sldId="1887"/>
            <ac:spMk id="163" creationId="{A77067AC-2133-4945-6C54-AD384D8B30A4}"/>
          </ac:spMkLst>
        </pc:spChg>
        <pc:spChg chg="mod">
          <ac:chgData name="Minh Hieu Chu" userId="456c32a0d5ebc4ce" providerId="LiveId" clId="{DBBC106B-624F-4A7C-9EDC-5B980619B417}" dt="2025-04-11T21:25:00.923" v="1576"/>
          <ac:spMkLst>
            <pc:docMk/>
            <pc:sldMk cId="1165568178" sldId="1887"/>
            <ac:spMk id="164" creationId="{8FD2E86E-18F0-7025-F2BC-44141777BB68}"/>
          </ac:spMkLst>
        </pc:spChg>
        <pc:spChg chg="mod">
          <ac:chgData name="Minh Hieu Chu" userId="456c32a0d5ebc4ce" providerId="LiveId" clId="{DBBC106B-624F-4A7C-9EDC-5B980619B417}" dt="2025-04-11T21:26:32.750" v="1600" actId="207"/>
          <ac:spMkLst>
            <pc:docMk/>
            <pc:sldMk cId="1165568178" sldId="1887"/>
            <ac:spMk id="168" creationId="{AD5B3BB4-C597-3E44-0335-1FCC3339A9E1}"/>
          </ac:spMkLst>
        </pc:spChg>
        <pc:spChg chg="mod">
          <ac:chgData name="Minh Hieu Chu" userId="456c32a0d5ebc4ce" providerId="LiveId" clId="{DBBC106B-624F-4A7C-9EDC-5B980619B417}" dt="2025-04-11T21:25:01.121" v="1577"/>
          <ac:spMkLst>
            <pc:docMk/>
            <pc:sldMk cId="1165568178" sldId="1887"/>
            <ac:spMk id="170" creationId="{45CE0C52-4378-DD8E-DBCA-F25183E3EE3C}"/>
          </ac:spMkLst>
        </pc:spChg>
        <pc:spChg chg="mod">
          <ac:chgData name="Minh Hieu Chu" userId="456c32a0d5ebc4ce" providerId="LiveId" clId="{DBBC106B-624F-4A7C-9EDC-5B980619B417}" dt="2025-04-11T21:25:01.121" v="1577"/>
          <ac:spMkLst>
            <pc:docMk/>
            <pc:sldMk cId="1165568178" sldId="1887"/>
            <ac:spMk id="172" creationId="{F2CFA761-F8B1-F579-C2AB-6F0EF84964FF}"/>
          </ac:spMkLst>
        </pc:spChg>
        <pc:spChg chg="mod">
          <ac:chgData name="Minh Hieu Chu" userId="456c32a0d5ebc4ce" providerId="LiveId" clId="{DBBC106B-624F-4A7C-9EDC-5B980619B417}" dt="2025-04-11T21:25:01.121" v="1577"/>
          <ac:spMkLst>
            <pc:docMk/>
            <pc:sldMk cId="1165568178" sldId="1887"/>
            <ac:spMk id="173" creationId="{304F55EC-7C0D-356C-3CBD-BEF3D874A298}"/>
          </ac:spMkLst>
        </pc:spChg>
        <pc:spChg chg="mod">
          <ac:chgData name="Minh Hieu Chu" userId="456c32a0d5ebc4ce" providerId="LiveId" clId="{DBBC106B-624F-4A7C-9EDC-5B980619B417}" dt="2025-04-11T21:26:31.220" v="1599" actId="207"/>
          <ac:spMkLst>
            <pc:docMk/>
            <pc:sldMk cId="1165568178" sldId="1887"/>
            <ac:spMk id="177" creationId="{D902CB87-EB79-110E-A941-8C36C9F1A19C}"/>
          </ac:spMkLst>
        </pc:spChg>
        <pc:spChg chg="mod">
          <ac:chgData name="Minh Hieu Chu" userId="456c32a0d5ebc4ce" providerId="LiveId" clId="{DBBC106B-624F-4A7C-9EDC-5B980619B417}" dt="2025-04-11T21:25:01.305" v="1578"/>
          <ac:spMkLst>
            <pc:docMk/>
            <pc:sldMk cId="1165568178" sldId="1887"/>
            <ac:spMk id="179" creationId="{0FBEDBDE-C03F-667A-628B-77D5F2631EED}"/>
          </ac:spMkLst>
        </pc:spChg>
        <pc:spChg chg="mod">
          <ac:chgData name="Minh Hieu Chu" userId="456c32a0d5ebc4ce" providerId="LiveId" clId="{DBBC106B-624F-4A7C-9EDC-5B980619B417}" dt="2025-04-11T21:25:01.305" v="1578"/>
          <ac:spMkLst>
            <pc:docMk/>
            <pc:sldMk cId="1165568178" sldId="1887"/>
            <ac:spMk id="181" creationId="{BDEA7C04-FA29-47A4-BF13-D9B8D0831FDA}"/>
          </ac:spMkLst>
        </pc:spChg>
        <pc:spChg chg="mod">
          <ac:chgData name="Minh Hieu Chu" userId="456c32a0d5ebc4ce" providerId="LiveId" clId="{DBBC106B-624F-4A7C-9EDC-5B980619B417}" dt="2025-04-11T21:25:01.305" v="1578"/>
          <ac:spMkLst>
            <pc:docMk/>
            <pc:sldMk cId="1165568178" sldId="1887"/>
            <ac:spMk id="182" creationId="{6273A2C7-9966-A9B4-2418-8601838C77AC}"/>
          </ac:spMkLst>
        </pc:spChg>
        <pc:spChg chg="mod">
          <ac:chgData name="Minh Hieu Chu" userId="456c32a0d5ebc4ce" providerId="LiveId" clId="{DBBC106B-624F-4A7C-9EDC-5B980619B417}" dt="2025-04-11T21:26:34.105" v="1601" actId="207"/>
          <ac:spMkLst>
            <pc:docMk/>
            <pc:sldMk cId="1165568178" sldId="1887"/>
            <ac:spMk id="186" creationId="{6AB259F7-ADBD-B000-3030-B984F673DA2D}"/>
          </ac:spMkLst>
        </pc:spChg>
        <pc:spChg chg="mod">
          <ac:chgData name="Minh Hieu Chu" userId="456c32a0d5ebc4ce" providerId="LiveId" clId="{DBBC106B-624F-4A7C-9EDC-5B980619B417}" dt="2025-04-11T21:25:01.550" v="1579"/>
          <ac:spMkLst>
            <pc:docMk/>
            <pc:sldMk cId="1165568178" sldId="1887"/>
            <ac:spMk id="188" creationId="{31B3F3F3-024E-ABE7-79A6-463A1F76A2EA}"/>
          </ac:spMkLst>
        </pc:spChg>
        <pc:spChg chg="mod">
          <ac:chgData name="Minh Hieu Chu" userId="456c32a0d5ebc4ce" providerId="LiveId" clId="{DBBC106B-624F-4A7C-9EDC-5B980619B417}" dt="2025-04-11T21:25:01.550" v="1579"/>
          <ac:spMkLst>
            <pc:docMk/>
            <pc:sldMk cId="1165568178" sldId="1887"/>
            <ac:spMk id="190" creationId="{3A2CC96E-4BC1-B09D-FC1E-0EC928A3AF85}"/>
          </ac:spMkLst>
        </pc:spChg>
        <pc:spChg chg="mod">
          <ac:chgData name="Minh Hieu Chu" userId="456c32a0d5ebc4ce" providerId="LiveId" clId="{DBBC106B-624F-4A7C-9EDC-5B980619B417}" dt="2025-04-11T21:25:01.550" v="1579"/>
          <ac:spMkLst>
            <pc:docMk/>
            <pc:sldMk cId="1165568178" sldId="1887"/>
            <ac:spMk id="191" creationId="{66C72D52-E621-8999-949D-C4D691A4F4CF}"/>
          </ac:spMkLst>
        </pc:spChg>
        <pc:grpChg chg="add mod">
          <ac:chgData name="Minh Hieu Chu" userId="456c32a0d5ebc4ce" providerId="LiveId" clId="{DBBC106B-624F-4A7C-9EDC-5B980619B417}" dt="2025-04-11T21:24:46.042" v="1567" actId="164"/>
          <ac:grpSpMkLst>
            <pc:docMk/>
            <pc:sldMk cId="1165568178" sldId="1887"/>
            <ac:grpSpMk id="3" creationId="{0B8CF938-AE38-F54D-F1A9-C0045B3437C0}"/>
          </ac:grpSpMkLst>
        </pc:grpChg>
        <pc:grpChg chg="mod topLvl">
          <ac:chgData name="Minh Hieu Chu" userId="456c32a0d5ebc4ce" providerId="LiveId" clId="{DBBC106B-624F-4A7C-9EDC-5B980619B417}" dt="2025-04-11T21:24:04.641" v="1550" actId="164"/>
          <ac:grpSpMkLst>
            <pc:docMk/>
            <pc:sldMk cId="1165568178" sldId="1887"/>
            <ac:grpSpMk id="40" creationId="{BDD7E639-07B2-49F5-5863-64288D9A37D9}"/>
          </ac:grpSpMkLst>
        </pc:grpChg>
        <pc:grpChg chg="mod">
          <ac:chgData name="Minh Hieu Chu" userId="456c32a0d5ebc4ce" providerId="LiveId" clId="{DBBC106B-624F-4A7C-9EDC-5B980619B417}" dt="2025-04-11T21:23:44.838" v="1547" actId="165"/>
          <ac:grpSpMkLst>
            <pc:docMk/>
            <pc:sldMk cId="1165568178" sldId="1887"/>
            <ac:grpSpMk id="42" creationId="{BED70F91-567F-89AB-BC2F-3F967704E1F4}"/>
          </ac:grpSpMkLst>
        </pc:grpChg>
        <pc:grpChg chg="add mod">
          <ac:chgData name="Minh Hieu Chu" userId="456c32a0d5ebc4ce" providerId="LiveId" clId="{DBBC106B-624F-4A7C-9EDC-5B980619B417}" dt="2025-04-12T00:29:36.283" v="2633" actId="1036"/>
          <ac:grpSpMkLst>
            <pc:docMk/>
            <pc:sldMk cId="1165568178" sldId="1887"/>
            <ac:grpSpMk id="137" creationId="{060F15B4-14E0-5414-2D7C-D02C746DD4C1}"/>
          </ac:grpSpMkLst>
        </pc:grpChg>
        <pc:grpChg chg="add mod">
          <ac:chgData name="Minh Hieu Chu" userId="456c32a0d5ebc4ce" providerId="LiveId" clId="{DBBC106B-624F-4A7C-9EDC-5B980619B417}" dt="2025-04-12T00:29:46.429" v="2634" actId="465"/>
          <ac:grpSpMkLst>
            <pc:docMk/>
            <pc:sldMk cId="1165568178" sldId="1887"/>
            <ac:grpSpMk id="138" creationId="{A6C3E369-9C43-3544-1810-07EE86C6DA86}"/>
          </ac:grpSpMkLst>
        </pc:grpChg>
        <pc:grpChg chg="mod">
          <ac:chgData name="Minh Hieu Chu" userId="456c32a0d5ebc4ce" providerId="LiveId" clId="{DBBC106B-624F-4A7C-9EDC-5B980619B417}" dt="2025-04-11T21:24:58.040" v="1572"/>
          <ac:grpSpMkLst>
            <pc:docMk/>
            <pc:sldMk cId="1165568178" sldId="1887"/>
            <ac:grpSpMk id="139" creationId="{2D10846F-8DFF-9597-5D97-D253172AA475}"/>
          </ac:grpSpMkLst>
        </pc:grpChg>
        <pc:grpChg chg="mod">
          <ac:chgData name="Minh Hieu Chu" userId="456c32a0d5ebc4ce" providerId="LiveId" clId="{DBBC106B-624F-4A7C-9EDC-5B980619B417}" dt="2025-04-11T21:24:58.040" v="1572"/>
          <ac:grpSpMkLst>
            <pc:docMk/>
            <pc:sldMk cId="1165568178" sldId="1887"/>
            <ac:grpSpMk id="142" creationId="{3F939BFB-83B8-90F2-355A-891F4B8F8610}"/>
          </ac:grpSpMkLst>
        </pc:grpChg>
        <pc:grpChg chg="mod">
          <ac:chgData name="Minh Hieu Chu" userId="456c32a0d5ebc4ce" providerId="LiveId" clId="{DBBC106B-624F-4A7C-9EDC-5B980619B417}" dt="2025-04-11T21:24:58.040" v="1572"/>
          <ac:grpSpMkLst>
            <pc:docMk/>
            <pc:sldMk cId="1165568178" sldId="1887"/>
            <ac:grpSpMk id="144" creationId="{6B04F57E-2E0D-D9F8-A83F-224FDE86751D}"/>
          </ac:grpSpMkLst>
        </pc:grpChg>
        <pc:grpChg chg="add mod">
          <ac:chgData name="Minh Hieu Chu" userId="456c32a0d5ebc4ce" providerId="LiveId" clId="{DBBC106B-624F-4A7C-9EDC-5B980619B417}" dt="2025-04-11T21:25:19.729" v="1587" actId="552"/>
          <ac:grpSpMkLst>
            <pc:docMk/>
            <pc:sldMk cId="1165568178" sldId="1887"/>
            <ac:grpSpMk id="147" creationId="{D0F8F4D9-A5AD-EB94-1BBF-0D8B469103FC}"/>
          </ac:grpSpMkLst>
        </pc:grpChg>
        <pc:grpChg chg="mod">
          <ac:chgData name="Minh Hieu Chu" userId="456c32a0d5ebc4ce" providerId="LiveId" clId="{DBBC106B-624F-4A7C-9EDC-5B980619B417}" dt="2025-04-11T21:24:58.526" v="1573"/>
          <ac:grpSpMkLst>
            <pc:docMk/>
            <pc:sldMk cId="1165568178" sldId="1887"/>
            <ac:grpSpMk id="148" creationId="{05325884-97C6-DACC-BE99-107D52C56F75}"/>
          </ac:grpSpMkLst>
        </pc:grpChg>
        <pc:grpChg chg="mod">
          <ac:chgData name="Minh Hieu Chu" userId="456c32a0d5ebc4ce" providerId="LiveId" clId="{DBBC106B-624F-4A7C-9EDC-5B980619B417}" dt="2025-04-11T21:24:58.526" v="1573"/>
          <ac:grpSpMkLst>
            <pc:docMk/>
            <pc:sldMk cId="1165568178" sldId="1887"/>
            <ac:grpSpMk id="151" creationId="{351DF9AB-B059-C78F-560E-A68A7AB1A336}"/>
          </ac:grpSpMkLst>
        </pc:grpChg>
        <pc:grpChg chg="mod">
          <ac:chgData name="Minh Hieu Chu" userId="456c32a0d5ebc4ce" providerId="LiveId" clId="{DBBC106B-624F-4A7C-9EDC-5B980619B417}" dt="2025-04-11T21:24:58.526" v="1573"/>
          <ac:grpSpMkLst>
            <pc:docMk/>
            <pc:sldMk cId="1165568178" sldId="1887"/>
            <ac:grpSpMk id="153" creationId="{1BE9F96F-4997-367D-442E-3520C5F1A50F}"/>
          </ac:grpSpMkLst>
        </pc:grpChg>
        <pc:grpChg chg="add mod">
          <ac:chgData name="Minh Hieu Chu" userId="456c32a0d5ebc4ce" providerId="LiveId" clId="{DBBC106B-624F-4A7C-9EDC-5B980619B417}" dt="2025-04-12T00:29:46.429" v="2634" actId="465"/>
          <ac:grpSpMkLst>
            <pc:docMk/>
            <pc:sldMk cId="1165568178" sldId="1887"/>
            <ac:grpSpMk id="156" creationId="{29C6F371-BF34-AEA1-BE72-877024B431F7}"/>
          </ac:grpSpMkLst>
        </pc:grpChg>
        <pc:grpChg chg="mod">
          <ac:chgData name="Minh Hieu Chu" userId="456c32a0d5ebc4ce" providerId="LiveId" clId="{DBBC106B-624F-4A7C-9EDC-5B980619B417}" dt="2025-04-11T21:25:00.923" v="1576"/>
          <ac:grpSpMkLst>
            <pc:docMk/>
            <pc:sldMk cId="1165568178" sldId="1887"/>
            <ac:grpSpMk id="157" creationId="{4799E979-39A5-568D-2FBB-485005291949}"/>
          </ac:grpSpMkLst>
        </pc:grpChg>
        <pc:grpChg chg="mod">
          <ac:chgData name="Minh Hieu Chu" userId="456c32a0d5ebc4ce" providerId="LiveId" clId="{DBBC106B-624F-4A7C-9EDC-5B980619B417}" dt="2025-04-11T21:25:00.923" v="1576"/>
          <ac:grpSpMkLst>
            <pc:docMk/>
            <pc:sldMk cId="1165568178" sldId="1887"/>
            <ac:grpSpMk id="160" creationId="{68D8872E-ACD3-48AC-6AFA-11D0D4D635E2}"/>
          </ac:grpSpMkLst>
        </pc:grpChg>
        <pc:grpChg chg="mod">
          <ac:chgData name="Minh Hieu Chu" userId="456c32a0d5ebc4ce" providerId="LiveId" clId="{DBBC106B-624F-4A7C-9EDC-5B980619B417}" dt="2025-04-11T21:25:00.923" v="1576"/>
          <ac:grpSpMkLst>
            <pc:docMk/>
            <pc:sldMk cId="1165568178" sldId="1887"/>
            <ac:grpSpMk id="162" creationId="{E14570D7-EF11-2F2F-C3D5-69D08EF63B0E}"/>
          </ac:grpSpMkLst>
        </pc:grpChg>
        <pc:grpChg chg="add mod">
          <ac:chgData name="Minh Hieu Chu" userId="456c32a0d5ebc4ce" providerId="LiveId" clId="{DBBC106B-624F-4A7C-9EDC-5B980619B417}" dt="2025-04-12T00:29:46.429" v="2634" actId="465"/>
          <ac:grpSpMkLst>
            <pc:docMk/>
            <pc:sldMk cId="1165568178" sldId="1887"/>
            <ac:grpSpMk id="165" creationId="{FA76C796-6A65-9BC4-3978-9E2F2DDDA3B8}"/>
          </ac:grpSpMkLst>
        </pc:grpChg>
        <pc:grpChg chg="mod">
          <ac:chgData name="Minh Hieu Chu" userId="456c32a0d5ebc4ce" providerId="LiveId" clId="{DBBC106B-624F-4A7C-9EDC-5B980619B417}" dt="2025-04-11T21:25:01.121" v="1577"/>
          <ac:grpSpMkLst>
            <pc:docMk/>
            <pc:sldMk cId="1165568178" sldId="1887"/>
            <ac:grpSpMk id="166" creationId="{68757190-B109-EC71-8E4E-A9A54AE6C124}"/>
          </ac:grpSpMkLst>
        </pc:grpChg>
        <pc:grpChg chg="mod">
          <ac:chgData name="Minh Hieu Chu" userId="456c32a0d5ebc4ce" providerId="LiveId" clId="{DBBC106B-624F-4A7C-9EDC-5B980619B417}" dt="2025-04-11T21:25:01.121" v="1577"/>
          <ac:grpSpMkLst>
            <pc:docMk/>
            <pc:sldMk cId="1165568178" sldId="1887"/>
            <ac:grpSpMk id="169" creationId="{1E1ACDC7-6E71-6493-4122-A16F93A9F1B1}"/>
          </ac:grpSpMkLst>
        </pc:grpChg>
        <pc:grpChg chg="mod">
          <ac:chgData name="Minh Hieu Chu" userId="456c32a0d5ebc4ce" providerId="LiveId" clId="{DBBC106B-624F-4A7C-9EDC-5B980619B417}" dt="2025-04-11T21:25:01.121" v="1577"/>
          <ac:grpSpMkLst>
            <pc:docMk/>
            <pc:sldMk cId="1165568178" sldId="1887"/>
            <ac:grpSpMk id="171" creationId="{793EB12A-F7E7-0F9B-8B16-60BC23D0B407}"/>
          </ac:grpSpMkLst>
        </pc:grpChg>
        <pc:grpChg chg="add mod">
          <ac:chgData name="Minh Hieu Chu" userId="456c32a0d5ebc4ce" providerId="LiveId" clId="{DBBC106B-624F-4A7C-9EDC-5B980619B417}" dt="2025-04-12T00:29:46.429" v="2634" actId="465"/>
          <ac:grpSpMkLst>
            <pc:docMk/>
            <pc:sldMk cId="1165568178" sldId="1887"/>
            <ac:grpSpMk id="174" creationId="{1E8AC2F7-C4EA-0193-D364-6F8BA3689D22}"/>
          </ac:grpSpMkLst>
        </pc:grpChg>
        <pc:grpChg chg="mod">
          <ac:chgData name="Minh Hieu Chu" userId="456c32a0d5ebc4ce" providerId="LiveId" clId="{DBBC106B-624F-4A7C-9EDC-5B980619B417}" dt="2025-04-11T21:25:01.305" v="1578"/>
          <ac:grpSpMkLst>
            <pc:docMk/>
            <pc:sldMk cId="1165568178" sldId="1887"/>
            <ac:grpSpMk id="175" creationId="{4385169A-81FF-BA73-9AEE-BB808947ADE5}"/>
          </ac:grpSpMkLst>
        </pc:grpChg>
        <pc:grpChg chg="mod">
          <ac:chgData name="Minh Hieu Chu" userId="456c32a0d5ebc4ce" providerId="LiveId" clId="{DBBC106B-624F-4A7C-9EDC-5B980619B417}" dt="2025-04-11T21:25:01.305" v="1578"/>
          <ac:grpSpMkLst>
            <pc:docMk/>
            <pc:sldMk cId="1165568178" sldId="1887"/>
            <ac:grpSpMk id="178" creationId="{53C0B641-2CD2-2FDF-FC56-6C90B85916CB}"/>
          </ac:grpSpMkLst>
        </pc:grpChg>
        <pc:grpChg chg="mod">
          <ac:chgData name="Minh Hieu Chu" userId="456c32a0d5ebc4ce" providerId="LiveId" clId="{DBBC106B-624F-4A7C-9EDC-5B980619B417}" dt="2025-04-11T21:25:01.305" v="1578"/>
          <ac:grpSpMkLst>
            <pc:docMk/>
            <pc:sldMk cId="1165568178" sldId="1887"/>
            <ac:grpSpMk id="180" creationId="{A367BD3D-552B-81A9-44F0-649E402A78A5}"/>
          </ac:grpSpMkLst>
        </pc:grpChg>
        <pc:grpChg chg="add mod">
          <ac:chgData name="Minh Hieu Chu" userId="456c32a0d5ebc4ce" providerId="LiveId" clId="{DBBC106B-624F-4A7C-9EDC-5B980619B417}" dt="2025-04-12T00:29:46.429" v="2634" actId="465"/>
          <ac:grpSpMkLst>
            <pc:docMk/>
            <pc:sldMk cId="1165568178" sldId="1887"/>
            <ac:grpSpMk id="183" creationId="{FA3E8DDF-EC7D-8C54-2F04-D9465E880619}"/>
          </ac:grpSpMkLst>
        </pc:grpChg>
        <pc:grpChg chg="mod">
          <ac:chgData name="Minh Hieu Chu" userId="456c32a0d5ebc4ce" providerId="LiveId" clId="{DBBC106B-624F-4A7C-9EDC-5B980619B417}" dt="2025-04-11T21:25:01.550" v="1579"/>
          <ac:grpSpMkLst>
            <pc:docMk/>
            <pc:sldMk cId="1165568178" sldId="1887"/>
            <ac:grpSpMk id="184" creationId="{F1758D5A-25C3-734A-27A5-6629E962BE91}"/>
          </ac:grpSpMkLst>
        </pc:grpChg>
        <pc:grpChg chg="mod">
          <ac:chgData name="Minh Hieu Chu" userId="456c32a0d5ebc4ce" providerId="LiveId" clId="{DBBC106B-624F-4A7C-9EDC-5B980619B417}" dt="2025-04-11T21:25:01.550" v="1579"/>
          <ac:grpSpMkLst>
            <pc:docMk/>
            <pc:sldMk cId="1165568178" sldId="1887"/>
            <ac:grpSpMk id="187" creationId="{B25D40B7-DB61-06F5-84AA-E058D8AD8DE8}"/>
          </ac:grpSpMkLst>
        </pc:grpChg>
        <pc:grpChg chg="mod">
          <ac:chgData name="Minh Hieu Chu" userId="456c32a0d5ebc4ce" providerId="LiveId" clId="{DBBC106B-624F-4A7C-9EDC-5B980619B417}" dt="2025-04-11T21:25:01.550" v="1579"/>
          <ac:grpSpMkLst>
            <pc:docMk/>
            <pc:sldMk cId="1165568178" sldId="1887"/>
            <ac:grpSpMk id="189" creationId="{DF72DAA0-3067-BF6B-4C87-26C2AB088CC5}"/>
          </ac:grpSpMkLst>
        </pc:grpChg>
        <pc:picChg chg="mod">
          <ac:chgData name="Minh Hieu Chu" userId="456c32a0d5ebc4ce" providerId="LiveId" clId="{DBBC106B-624F-4A7C-9EDC-5B980619B417}" dt="2025-04-11T21:24:46.042" v="1567" actId="164"/>
          <ac:picMkLst>
            <pc:docMk/>
            <pc:sldMk cId="1165568178" sldId="1887"/>
            <ac:picMk id="103" creationId="{BCC010B4-2190-DDCB-657A-5E5A3AA28DEA}"/>
          </ac:picMkLst>
        </pc:picChg>
        <pc:picChg chg="mod">
          <ac:chgData name="Minh Hieu Chu" userId="456c32a0d5ebc4ce" providerId="LiveId" clId="{DBBC106B-624F-4A7C-9EDC-5B980619B417}" dt="2025-04-11T21:24:58.040" v="1572"/>
          <ac:picMkLst>
            <pc:docMk/>
            <pc:sldMk cId="1165568178" sldId="1887"/>
            <ac:picMk id="140" creationId="{24AEE2B3-6B4D-1DF6-18BB-EEDF4F307804}"/>
          </ac:picMkLst>
        </pc:picChg>
        <pc:picChg chg="mod">
          <ac:chgData name="Minh Hieu Chu" userId="456c32a0d5ebc4ce" providerId="LiveId" clId="{DBBC106B-624F-4A7C-9EDC-5B980619B417}" dt="2025-04-11T21:24:58.526" v="1573"/>
          <ac:picMkLst>
            <pc:docMk/>
            <pc:sldMk cId="1165568178" sldId="1887"/>
            <ac:picMk id="149" creationId="{5B27BE7C-25F0-F90F-4AF2-46C71AC7C797}"/>
          </ac:picMkLst>
        </pc:picChg>
        <pc:picChg chg="mod">
          <ac:chgData name="Minh Hieu Chu" userId="456c32a0d5ebc4ce" providerId="LiveId" clId="{DBBC106B-624F-4A7C-9EDC-5B980619B417}" dt="2025-04-11T21:25:00.923" v="1576"/>
          <ac:picMkLst>
            <pc:docMk/>
            <pc:sldMk cId="1165568178" sldId="1887"/>
            <ac:picMk id="158" creationId="{9AFC9C70-020D-BC59-C55B-295BEF6AEED1}"/>
          </ac:picMkLst>
        </pc:picChg>
        <pc:picChg chg="mod">
          <ac:chgData name="Minh Hieu Chu" userId="456c32a0d5ebc4ce" providerId="LiveId" clId="{DBBC106B-624F-4A7C-9EDC-5B980619B417}" dt="2025-04-11T21:25:01.121" v="1577"/>
          <ac:picMkLst>
            <pc:docMk/>
            <pc:sldMk cId="1165568178" sldId="1887"/>
            <ac:picMk id="167" creationId="{49C84F89-B519-022A-C32E-561B3BC55C78}"/>
          </ac:picMkLst>
        </pc:picChg>
        <pc:picChg chg="mod">
          <ac:chgData name="Minh Hieu Chu" userId="456c32a0d5ebc4ce" providerId="LiveId" clId="{DBBC106B-624F-4A7C-9EDC-5B980619B417}" dt="2025-04-11T21:25:01.305" v="1578"/>
          <ac:picMkLst>
            <pc:docMk/>
            <pc:sldMk cId="1165568178" sldId="1887"/>
            <ac:picMk id="176" creationId="{8CE4C319-8C93-2AB4-CFFF-1D7FAF0AB1CF}"/>
          </ac:picMkLst>
        </pc:picChg>
        <pc:picChg chg="mod">
          <ac:chgData name="Minh Hieu Chu" userId="456c32a0d5ebc4ce" providerId="LiveId" clId="{DBBC106B-624F-4A7C-9EDC-5B980619B417}" dt="2025-04-11T21:25:01.550" v="1579"/>
          <ac:picMkLst>
            <pc:docMk/>
            <pc:sldMk cId="1165568178" sldId="1887"/>
            <ac:picMk id="185" creationId="{E8FFFF28-E8C8-918B-6582-5EEEED84E26E}"/>
          </ac:picMkLst>
        </pc:picChg>
      </pc:sldChg>
      <pc:sldChg chg="addSp modSp add del mod">
        <pc:chgData name="Minh Hieu Chu" userId="456c32a0d5ebc4ce" providerId="LiveId" clId="{DBBC106B-624F-4A7C-9EDC-5B980619B417}" dt="2025-04-14T01:37:32.773" v="3994" actId="47"/>
        <pc:sldMkLst>
          <pc:docMk/>
          <pc:sldMk cId="1798181145" sldId="1888"/>
        </pc:sldMkLst>
      </pc:sldChg>
      <pc:sldChg chg="addSp modSp add mod">
        <pc:chgData name="Minh Hieu Chu" userId="456c32a0d5ebc4ce" providerId="LiveId" clId="{DBBC106B-624F-4A7C-9EDC-5B980619B417}" dt="2025-04-11T21:32:50.864" v="1645"/>
        <pc:sldMkLst>
          <pc:docMk/>
          <pc:sldMk cId="3059779492" sldId="1889"/>
        </pc:sldMkLst>
        <pc:spChg chg="add mod">
          <ac:chgData name="Minh Hieu Chu" userId="456c32a0d5ebc4ce" providerId="LiveId" clId="{DBBC106B-624F-4A7C-9EDC-5B980619B417}" dt="2025-04-11T21:31:59.738" v="1642" actId="14100"/>
          <ac:spMkLst>
            <pc:docMk/>
            <pc:sldMk cId="3059779492" sldId="1889"/>
            <ac:spMk id="3" creationId="{335A1B21-9D32-D9A9-3D36-EEC5B8154198}"/>
          </ac:spMkLst>
        </pc:spChg>
        <pc:spChg chg="mod">
          <ac:chgData name="Minh Hieu Chu" userId="456c32a0d5ebc4ce" providerId="LiveId" clId="{DBBC106B-624F-4A7C-9EDC-5B980619B417}" dt="2025-04-11T21:31:30.658" v="1638"/>
          <ac:spMkLst>
            <pc:docMk/>
            <pc:sldMk cId="3059779492" sldId="1889"/>
            <ac:spMk id="5" creationId="{EB2E6924-5E1F-F413-D578-163630BC911D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8" creationId="{358B37EB-1152-6630-6A92-F3712C97E609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13" creationId="{57B3301E-51B8-4ECA-45F9-3E8D63BA5D60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14" creationId="{CA4AE07E-5F10-747A-C799-BA81502DD16D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15" creationId="{C44552A7-6DD6-FB31-7DEC-7F7551C87640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17" creationId="{8F1A1C9D-D565-A176-E124-79B1D73E9299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20" creationId="{04A38A69-2F98-9D4C-CE50-8EAF77B93CAC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21" creationId="{2D0CC251-8018-7C77-C2DE-21B2BD086232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25" creationId="{FB70A1C0-85A6-0030-F24C-E12DB5C8C42C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26" creationId="{81895FBA-5927-A675-5FED-18FF586B0E97}"/>
          </ac:spMkLst>
        </pc:spChg>
        <pc:spChg chg="add mod">
          <ac:chgData name="Minh Hieu Chu" userId="456c32a0d5ebc4ce" providerId="LiveId" clId="{DBBC106B-624F-4A7C-9EDC-5B980619B417}" dt="2025-04-11T21:32:50.864" v="1645"/>
          <ac:spMkLst>
            <pc:docMk/>
            <pc:sldMk cId="3059779492" sldId="1889"/>
            <ac:spMk id="28" creationId="{AB9955FE-E707-FCBE-21B8-E39BE586C126}"/>
          </ac:spMkLst>
        </pc:spChg>
      </pc:sldChg>
      <pc:sldChg chg="addSp modSp add mod">
        <pc:chgData name="Minh Hieu Chu" userId="456c32a0d5ebc4ce" providerId="LiveId" clId="{DBBC106B-624F-4A7C-9EDC-5B980619B417}" dt="2025-04-12T01:05:17.340" v="2892" actId="1035"/>
        <pc:sldMkLst>
          <pc:docMk/>
          <pc:sldMk cId="3306185390" sldId="1890"/>
        </pc:sldMkLst>
        <pc:spChg chg="mod">
          <ac:chgData name="Minh Hieu Chu" userId="456c32a0d5ebc4ce" providerId="LiveId" clId="{DBBC106B-624F-4A7C-9EDC-5B980619B417}" dt="2025-04-11T21:33:04.447" v="1649"/>
          <ac:spMkLst>
            <pc:docMk/>
            <pc:sldMk cId="3306185390" sldId="1890"/>
            <ac:spMk id="5" creationId="{C43885A4-D3A6-8B0B-DAB0-0654843DD5C0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8" creationId="{79487774-D74A-FEA1-36B3-FF196CD2A9AF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12" creationId="{9190F7E7-7C19-C5D4-D4AA-D1E7AD9A22A8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14" creationId="{26D0F761-6FBC-D70A-4E4B-012350A3B625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15" creationId="{37490676-3C69-0817-82F9-C3DFA5D75EE8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17" creationId="{F9E6A7F0-B809-FDAE-C028-81109C19FC8F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18" creationId="{C63BA5DC-7156-37A1-DD96-BFF35A250C07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20" creationId="{44092546-2917-3A2E-07A8-CB377B89F463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21" creationId="{873360CB-30F4-BA63-C034-801446219E94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23" creationId="{1545DEEB-179D-EB9F-647F-3E2F257598E0}"/>
          </ac:spMkLst>
        </pc:spChg>
        <pc:spChg chg="mod">
          <ac:chgData name="Minh Hieu Chu" userId="456c32a0d5ebc4ce" providerId="LiveId" clId="{DBBC106B-624F-4A7C-9EDC-5B980619B417}" dt="2025-04-11T21:38:22.948" v="1704"/>
          <ac:spMkLst>
            <pc:docMk/>
            <pc:sldMk cId="3306185390" sldId="1890"/>
            <ac:spMk id="24" creationId="{0AFB04C7-E6BF-3791-8846-9F12B97D1F50}"/>
          </ac:spMkLst>
        </pc:spChg>
        <pc:grpChg chg="mod">
          <ac:chgData name="Minh Hieu Chu" userId="456c32a0d5ebc4ce" providerId="LiveId" clId="{DBBC106B-624F-4A7C-9EDC-5B980619B417}" dt="2025-04-12T01:05:05.682" v="2866" actId="1035"/>
          <ac:grpSpMkLst>
            <pc:docMk/>
            <pc:sldMk cId="3306185390" sldId="1890"/>
            <ac:grpSpMk id="7" creationId="{6FC1EF3D-55C3-4D27-F9E5-2FB4BDEEBBAE}"/>
          </ac:grpSpMkLst>
        </pc:grpChg>
        <pc:grpChg chg="mod">
          <ac:chgData name="Minh Hieu Chu" userId="456c32a0d5ebc4ce" providerId="LiveId" clId="{DBBC106B-624F-4A7C-9EDC-5B980619B417}" dt="2025-04-12T01:05:00.569" v="2854" actId="1035"/>
          <ac:grpSpMkLst>
            <pc:docMk/>
            <pc:sldMk cId="3306185390" sldId="1890"/>
            <ac:grpSpMk id="13" creationId="{73A8BB2F-90C2-279E-7EA4-713DD2F2E178}"/>
          </ac:grpSpMkLst>
        </pc:grpChg>
        <pc:grpChg chg="mod">
          <ac:chgData name="Minh Hieu Chu" userId="456c32a0d5ebc4ce" providerId="LiveId" clId="{DBBC106B-624F-4A7C-9EDC-5B980619B417}" dt="2025-04-12T01:05:10.726" v="2877" actId="1035"/>
          <ac:grpSpMkLst>
            <pc:docMk/>
            <pc:sldMk cId="3306185390" sldId="1890"/>
            <ac:grpSpMk id="16" creationId="{42680EC0-4CE3-540E-4CE5-04D321FD4D6A}"/>
          </ac:grpSpMkLst>
        </pc:grpChg>
        <pc:grpChg chg="mod">
          <ac:chgData name="Minh Hieu Chu" userId="456c32a0d5ebc4ce" providerId="LiveId" clId="{DBBC106B-624F-4A7C-9EDC-5B980619B417}" dt="2025-04-12T01:05:17.340" v="2892" actId="1035"/>
          <ac:grpSpMkLst>
            <pc:docMk/>
            <pc:sldMk cId="3306185390" sldId="1890"/>
            <ac:grpSpMk id="19" creationId="{801A431B-D98C-D229-00C0-3A7EA2BF5452}"/>
          </ac:grpSpMkLst>
        </pc:grpChg>
        <pc:grpChg chg="mod">
          <ac:chgData name="Minh Hieu Chu" userId="456c32a0d5ebc4ce" providerId="LiveId" clId="{DBBC106B-624F-4A7C-9EDC-5B980619B417}" dt="2025-04-11T21:39:14.774" v="1785" actId="1035"/>
          <ac:grpSpMkLst>
            <pc:docMk/>
            <pc:sldMk cId="3306185390" sldId="1890"/>
            <ac:grpSpMk id="22" creationId="{442E57AC-5CCC-16EE-85DC-365F8ACC86B8}"/>
          </ac:grpSpMkLst>
        </pc:grpChg>
        <pc:graphicFrameChg chg="add mod modGraphic">
          <ac:chgData name="Minh Hieu Chu" userId="456c32a0d5ebc4ce" providerId="LiveId" clId="{DBBC106B-624F-4A7C-9EDC-5B980619B417}" dt="2025-04-11T21:38:03.596" v="1703" actId="207"/>
          <ac:graphicFrameMkLst>
            <pc:docMk/>
            <pc:sldMk cId="3306185390" sldId="1890"/>
            <ac:graphicFrameMk id="3" creationId="{AAA7A8FB-D5AD-2F3D-D69F-3367D0200D8D}"/>
          </ac:graphicFrameMkLst>
        </pc:graphicFrameChg>
      </pc:sldChg>
      <pc:sldChg chg="addSp modSp add mod">
        <pc:chgData name="Minh Hieu Chu" userId="456c32a0d5ebc4ce" providerId="LiveId" clId="{DBBC106B-624F-4A7C-9EDC-5B980619B417}" dt="2025-04-12T01:06:05.065" v="2938" actId="2711"/>
        <pc:sldMkLst>
          <pc:docMk/>
          <pc:sldMk cId="3143499068" sldId="1891"/>
        </pc:sldMkLst>
        <pc:spChg chg="mod">
          <ac:chgData name="Minh Hieu Chu" userId="456c32a0d5ebc4ce" providerId="LiveId" clId="{DBBC106B-624F-4A7C-9EDC-5B980619B417}" dt="2025-04-11T21:39:30.920" v="1786"/>
          <ac:spMkLst>
            <pc:docMk/>
            <pc:sldMk cId="3143499068" sldId="1891"/>
            <ac:spMk id="5" creationId="{79499C98-D8E9-0B0C-83E1-9ED52E365E1D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8" creationId="{EDF111A3-A906-B9B9-32B3-EE40C08A2D9A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12" creationId="{E18ED2F1-EC19-79E7-462F-B265D920FB39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14" creationId="{F79D8E00-AC1F-87FE-472A-34E4450F30A9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15" creationId="{F0FF26C6-E9F2-79E4-82F9-1CABCE84DAA5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17" creationId="{039EED8E-8AC3-5724-73E4-E2B8A9AACC98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18" creationId="{27829018-2C5D-C598-D282-06D3C47413E3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20" creationId="{DEE38FF3-38CA-CCE8-3106-85B13473107F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21" creationId="{FF16B091-A511-0E5D-5589-B5FBA89D140A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23" creationId="{4A25C2B3-8F2C-014E-9A5F-85C08183ED50}"/>
          </ac:spMkLst>
        </pc:spChg>
        <pc:spChg chg="mod">
          <ac:chgData name="Minh Hieu Chu" userId="456c32a0d5ebc4ce" providerId="LiveId" clId="{DBBC106B-624F-4A7C-9EDC-5B980619B417}" dt="2025-04-11T21:45:59.375" v="1806"/>
          <ac:spMkLst>
            <pc:docMk/>
            <pc:sldMk cId="3143499068" sldId="1891"/>
            <ac:spMk id="24" creationId="{34970041-0DE4-7799-BEBA-3682AA88383F}"/>
          </ac:spMkLst>
        </pc:spChg>
        <pc:grpChg chg="mod">
          <ac:chgData name="Minh Hieu Chu" userId="456c32a0d5ebc4ce" providerId="LiveId" clId="{DBBC106B-624F-4A7C-9EDC-5B980619B417}" dt="2025-04-12T01:05:22.720" v="2901" actId="1035"/>
          <ac:grpSpMkLst>
            <pc:docMk/>
            <pc:sldMk cId="3143499068" sldId="1891"/>
            <ac:grpSpMk id="7" creationId="{F75826EF-32C3-13DA-D597-2280250D9E53}"/>
          </ac:grpSpMkLst>
        </pc:grpChg>
        <pc:grpChg chg="mod">
          <ac:chgData name="Minh Hieu Chu" userId="456c32a0d5ebc4ce" providerId="LiveId" clId="{DBBC106B-624F-4A7C-9EDC-5B980619B417}" dt="2025-04-12T01:05:27.013" v="2912" actId="1035"/>
          <ac:grpSpMkLst>
            <pc:docMk/>
            <pc:sldMk cId="3143499068" sldId="1891"/>
            <ac:grpSpMk id="13" creationId="{B672ECB8-251A-8964-14EA-D70EAF14DAB8}"/>
          </ac:grpSpMkLst>
        </pc:grpChg>
        <pc:grpChg chg="mod">
          <ac:chgData name="Minh Hieu Chu" userId="456c32a0d5ebc4ce" providerId="LiveId" clId="{DBBC106B-624F-4A7C-9EDC-5B980619B417}" dt="2025-04-12T01:05:30.614" v="2920" actId="1035"/>
          <ac:grpSpMkLst>
            <pc:docMk/>
            <pc:sldMk cId="3143499068" sldId="1891"/>
            <ac:grpSpMk id="16" creationId="{BF8467F8-F35C-1AAE-148B-8D1D922CC169}"/>
          </ac:grpSpMkLst>
        </pc:grpChg>
        <pc:grpChg chg="mod">
          <ac:chgData name="Minh Hieu Chu" userId="456c32a0d5ebc4ce" providerId="LiveId" clId="{DBBC106B-624F-4A7C-9EDC-5B980619B417}" dt="2025-04-12T01:05:35.169" v="2929" actId="1035"/>
          <ac:grpSpMkLst>
            <pc:docMk/>
            <pc:sldMk cId="3143499068" sldId="1891"/>
            <ac:grpSpMk id="19" creationId="{AEEAEE72-7254-2336-6FC7-8BA7D9CDB376}"/>
          </ac:grpSpMkLst>
        </pc:grpChg>
        <pc:grpChg chg="mod">
          <ac:chgData name="Minh Hieu Chu" userId="456c32a0d5ebc4ce" providerId="LiveId" clId="{DBBC106B-624F-4A7C-9EDC-5B980619B417}" dt="2025-04-12T01:05:38.464" v="2937" actId="1035"/>
          <ac:grpSpMkLst>
            <pc:docMk/>
            <pc:sldMk cId="3143499068" sldId="1891"/>
            <ac:grpSpMk id="22" creationId="{7546E451-D6F9-EC0D-E8D6-95D1AB2EAE9D}"/>
          </ac:grpSpMkLst>
        </pc:grpChg>
        <pc:graphicFrameChg chg="add mod modGraphic">
          <ac:chgData name="Minh Hieu Chu" userId="456c32a0d5ebc4ce" providerId="LiveId" clId="{DBBC106B-624F-4A7C-9EDC-5B980619B417}" dt="2025-04-12T01:06:05.065" v="2938" actId="2711"/>
          <ac:graphicFrameMkLst>
            <pc:docMk/>
            <pc:sldMk cId="3143499068" sldId="1891"/>
            <ac:graphicFrameMk id="3" creationId="{1B6062B2-8C3E-84C5-6E2B-5DB41CE9177B}"/>
          </ac:graphicFrameMkLst>
        </pc:graphicFrameChg>
      </pc:sldChg>
      <pc:sldChg chg="addSp delSp modSp add mod">
        <pc:chgData name="Minh Hieu Chu" userId="456c32a0d5ebc4ce" providerId="LiveId" clId="{DBBC106B-624F-4A7C-9EDC-5B980619B417}" dt="2025-04-11T22:05:03.417" v="2112" actId="207"/>
        <pc:sldMkLst>
          <pc:docMk/>
          <pc:sldMk cId="1536760800" sldId="1892"/>
        </pc:sldMkLst>
        <pc:spChg chg="mod">
          <ac:chgData name="Minh Hieu Chu" userId="456c32a0d5ebc4ce" providerId="LiveId" clId="{DBBC106B-624F-4A7C-9EDC-5B980619B417}" dt="2025-04-11T21:53:47.920" v="1955" actId="20577"/>
          <ac:spMkLst>
            <pc:docMk/>
            <pc:sldMk cId="1536760800" sldId="1892"/>
            <ac:spMk id="5" creationId="{B6752A24-A7FF-3B66-0364-A2DD296E66ED}"/>
          </ac:spMkLst>
        </pc:spChg>
        <pc:spChg chg="mod">
          <ac:chgData name="Minh Hieu Chu" userId="456c32a0d5ebc4ce" providerId="LiveId" clId="{DBBC106B-624F-4A7C-9EDC-5B980619B417}" dt="2025-04-11T22:05:01.832" v="2111" actId="207"/>
          <ac:spMkLst>
            <pc:docMk/>
            <pc:sldMk cId="1536760800" sldId="1892"/>
            <ac:spMk id="8" creationId="{6C5F1527-2D56-8D81-3E15-02F596250627}"/>
          </ac:spMkLst>
        </pc:spChg>
        <pc:spChg chg="mod">
          <ac:chgData name="Minh Hieu Chu" userId="456c32a0d5ebc4ce" providerId="LiveId" clId="{DBBC106B-624F-4A7C-9EDC-5B980619B417}" dt="2025-04-11T22:03:22.726" v="2101" actId="1076"/>
          <ac:spMkLst>
            <pc:docMk/>
            <pc:sldMk cId="1536760800" sldId="1892"/>
            <ac:spMk id="12" creationId="{7959A723-543B-9807-C6FF-E42E47B5E0E7}"/>
          </ac:spMkLst>
        </pc:spChg>
        <pc:spChg chg="mod">
          <ac:chgData name="Minh Hieu Chu" userId="456c32a0d5ebc4ce" providerId="LiveId" clId="{DBBC106B-624F-4A7C-9EDC-5B980619B417}" dt="2025-04-11T21:58:15.074" v="2040" actId="165"/>
          <ac:spMkLst>
            <pc:docMk/>
            <pc:sldMk cId="1536760800" sldId="1892"/>
            <ac:spMk id="13" creationId="{BC06EA8D-6910-C754-CFB7-F5667BEA9890}"/>
          </ac:spMkLst>
        </pc:spChg>
        <pc:spChg chg="mod">
          <ac:chgData name="Minh Hieu Chu" userId="456c32a0d5ebc4ce" providerId="LiveId" clId="{DBBC106B-624F-4A7C-9EDC-5B980619B417}" dt="2025-04-11T22:05:03.417" v="2112" actId="207"/>
          <ac:spMkLst>
            <pc:docMk/>
            <pc:sldMk cId="1536760800" sldId="1892"/>
            <ac:spMk id="14" creationId="{7EF9A0ED-09FA-E884-BA4D-C0BD6BD784FF}"/>
          </ac:spMkLst>
        </pc:spChg>
        <pc:spChg chg="mod">
          <ac:chgData name="Minh Hieu Chu" userId="456c32a0d5ebc4ce" providerId="LiveId" clId="{DBBC106B-624F-4A7C-9EDC-5B980619B417}" dt="2025-04-11T21:58:15.074" v="2040" actId="165"/>
          <ac:spMkLst>
            <pc:docMk/>
            <pc:sldMk cId="1536760800" sldId="1892"/>
            <ac:spMk id="15" creationId="{615BB53F-4CFC-9286-5B48-A0F430E52438}"/>
          </ac:spMkLst>
        </pc:spChg>
        <pc:spChg chg="mod">
          <ac:chgData name="Minh Hieu Chu" userId="456c32a0d5ebc4ce" providerId="LiveId" clId="{DBBC106B-624F-4A7C-9EDC-5B980619B417}" dt="2025-04-11T22:04:58.466" v="2110" actId="207"/>
          <ac:spMkLst>
            <pc:docMk/>
            <pc:sldMk cId="1536760800" sldId="1892"/>
            <ac:spMk id="16" creationId="{83D14A6D-7F1B-CE10-F5AA-B0B7BE78A244}"/>
          </ac:spMkLst>
        </pc:spChg>
        <pc:spChg chg="mod">
          <ac:chgData name="Minh Hieu Chu" userId="456c32a0d5ebc4ce" providerId="LiveId" clId="{DBBC106B-624F-4A7C-9EDC-5B980619B417}" dt="2025-04-11T22:04:53.819" v="2109" actId="207"/>
          <ac:spMkLst>
            <pc:docMk/>
            <pc:sldMk cId="1536760800" sldId="1892"/>
            <ac:spMk id="17" creationId="{2A527DE8-C630-0A3C-1439-59FA24AEC9DF}"/>
          </ac:spMkLst>
        </pc:spChg>
        <pc:spChg chg="mod">
          <ac:chgData name="Minh Hieu Chu" userId="456c32a0d5ebc4ce" providerId="LiveId" clId="{DBBC106B-624F-4A7C-9EDC-5B980619B417}" dt="2025-04-11T22:03:22.726" v="2101" actId="1076"/>
          <ac:spMkLst>
            <pc:docMk/>
            <pc:sldMk cId="1536760800" sldId="1892"/>
            <ac:spMk id="18" creationId="{F5092CA1-7DC9-84F3-3B0F-8BD8C1290028}"/>
          </ac:spMkLst>
        </pc:spChg>
        <pc:spChg chg="mod topLvl">
          <ac:chgData name="Minh Hieu Chu" userId="456c32a0d5ebc4ce" providerId="LiveId" clId="{DBBC106B-624F-4A7C-9EDC-5B980619B417}" dt="2025-04-11T22:03:22.726" v="2101" actId="1076"/>
          <ac:spMkLst>
            <pc:docMk/>
            <pc:sldMk cId="1536760800" sldId="1892"/>
            <ac:spMk id="24" creationId="{FF1E8F03-EE83-6A26-E3C7-0D53C4DF551F}"/>
          </ac:spMkLst>
        </pc:spChg>
        <pc:spChg chg="add mod topLvl">
          <ac:chgData name="Minh Hieu Chu" userId="456c32a0d5ebc4ce" providerId="LiveId" clId="{DBBC106B-624F-4A7C-9EDC-5B980619B417}" dt="2025-04-11T22:02:27.118" v="2094" actId="164"/>
          <ac:spMkLst>
            <pc:docMk/>
            <pc:sldMk cId="1536760800" sldId="1892"/>
            <ac:spMk id="28" creationId="{E0A26182-F4E5-F140-C2A5-8A85F2513168}"/>
          </ac:spMkLst>
        </pc:spChg>
        <pc:spChg chg="add mod">
          <ac:chgData name="Minh Hieu Chu" userId="456c32a0d5ebc4ce" providerId="LiveId" clId="{DBBC106B-624F-4A7C-9EDC-5B980619B417}" dt="2025-04-11T22:02:27.118" v="2094" actId="164"/>
          <ac:spMkLst>
            <pc:docMk/>
            <pc:sldMk cId="1536760800" sldId="1892"/>
            <ac:spMk id="34" creationId="{97A395D0-A9F0-DE68-120F-2E9CE553E280}"/>
          </ac:spMkLst>
        </pc:spChg>
        <pc:spChg chg="add mod">
          <ac:chgData name="Minh Hieu Chu" userId="456c32a0d5ebc4ce" providerId="LiveId" clId="{DBBC106B-624F-4A7C-9EDC-5B980619B417}" dt="2025-04-11T22:03:22.726" v="2101" actId="1076"/>
          <ac:spMkLst>
            <pc:docMk/>
            <pc:sldMk cId="1536760800" sldId="1892"/>
            <ac:spMk id="36" creationId="{53F485CE-5C7F-86A9-A5A3-94F086F5C7BF}"/>
          </ac:spMkLst>
        </pc:spChg>
        <pc:spChg chg="add mod">
          <ac:chgData name="Minh Hieu Chu" userId="456c32a0d5ebc4ce" providerId="LiveId" clId="{DBBC106B-624F-4A7C-9EDC-5B980619B417}" dt="2025-04-11T22:03:22.726" v="2101" actId="1076"/>
          <ac:spMkLst>
            <pc:docMk/>
            <pc:sldMk cId="1536760800" sldId="1892"/>
            <ac:spMk id="37" creationId="{BB8E6A75-F395-753E-FBCB-1BAF8CB5E966}"/>
          </ac:spMkLst>
        </pc:spChg>
        <pc:spChg chg="add mod">
          <ac:chgData name="Minh Hieu Chu" userId="456c32a0d5ebc4ce" providerId="LiveId" clId="{DBBC106B-624F-4A7C-9EDC-5B980619B417}" dt="2025-04-11T22:03:22.726" v="2101" actId="1076"/>
          <ac:spMkLst>
            <pc:docMk/>
            <pc:sldMk cId="1536760800" sldId="1892"/>
            <ac:spMk id="38" creationId="{E27659AC-B43E-3206-AB0D-20E78363614F}"/>
          </ac:spMkLst>
        </pc:spChg>
        <pc:spChg chg="add mod">
          <ac:chgData name="Minh Hieu Chu" userId="456c32a0d5ebc4ce" providerId="LiveId" clId="{DBBC106B-624F-4A7C-9EDC-5B980619B417}" dt="2025-04-11T22:03:53.294" v="2107" actId="1076"/>
          <ac:spMkLst>
            <pc:docMk/>
            <pc:sldMk cId="1536760800" sldId="1892"/>
            <ac:spMk id="39" creationId="{71A1374B-4372-CD6B-4888-F539242BEB0E}"/>
          </ac:spMkLst>
        </pc:spChg>
        <pc:grpChg chg="mod">
          <ac:chgData name="Minh Hieu Chu" userId="456c32a0d5ebc4ce" providerId="LiveId" clId="{DBBC106B-624F-4A7C-9EDC-5B980619B417}" dt="2025-04-11T22:02:27.118" v="2094" actId="164"/>
          <ac:grpSpMkLst>
            <pc:docMk/>
            <pc:sldMk cId="1536760800" sldId="1892"/>
            <ac:grpSpMk id="7" creationId="{BCF3BD34-E495-72B2-36B6-E5D9448D2E7D}"/>
          </ac:grpSpMkLst>
        </pc:grpChg>
        <pc:grpChg chg="add mod">
          <ac:chgData name="Minh Hieu Chu" userId="456c32a0d5ebc4ce" providerId="LiveId" clId="{DBBC106B-624F-4A7C-9EDC-5B980619B417}" dt="2025-04-11T22:02:27.118" v="2094" actId="164"/>
          <ac:grpSpMkLst>
            <pc:docMk/>
            <pc:sldMk cId="1536760800" sldId="1892"/>
            <ac:grpSpMk id="40" creationId="{548DA3DC-A3A4-DCD6-1A8C-5C1EC272CC6C}"/>
          </ac:grpSpMkLst>
        </pc:grpChg>
        <pc:cxnChg chg="mod">
          <ac:chgData name="Minh Hieu Chu" userId="456c32a0d5ebc4ce" providerId="LiveId" clId="{DBBC106B-624F-4A7C-9EDC-5B980619B417}" dt="2025-04-11T22:02:27.118" v="2094" actId="164"/>
          <ac:cxnSpMkLst>
            <pc:docMk/>
            <pc:sldMk cId="1536760800" sldId="1892"/>
            <ac:cxnSpMk id="30" creationId="{3EC46F0A-F2B0-FA49-AEB9-90AADCA3667A}"/>
          </ac:cxnSpMkLst>
        </pc:cxnChg>
        <pc:cxnChg chg="add mod">
          <ac:chgData name="Minh Hieu Chu" userId="456c32a0d5ebc4ce" providerId="LiveId" clId="{DBBC106B-624F-4A7C-9EDC-5B980619B417}" dt="2025-04-11T22:02:27.118" v="2094" actId="164"/>
          <ac:cxnSpMkLst>
            <pc:docMk/>
            <pc:sldMk cId="1536760800" sldId="1892"/>
            <ac:cxnSpMk id="35" creationId="{6A22B1D1-3C3E-F4FF-B3CE-6D7600761DFA}"/>
          </ac:cxnSpMkLst>
        </pc:cxnChg>
      </pc:sldChg>
      <pc:sldChg chg="addSp delSp modSp add mod">
        <pc:chgData name="Minh Hieu Chu" userId="456c32a0d5ebc4ce" providerId="LiveId" clId="{DBBC106B-624F-4A7C-9EDC-5B980619B417}" dt="2025-04-12T01:02:34.380" v="2826" actId="403"/>
        <pc:sldMkLst>
          <pc:docMk/>
          <pc:sldMk cId="3855907865" sldId="1893"/>
        </pc:sldMkLst>
        <pc:spChg chg="mod">
          <ac:chgData name="Minh Hieu Chu" userId="456c32a0d5ebc4ce" providerId="LiveId" clId="{DBBC106B-624F-4A7C-9EDC-5B980619B417}" dt="2025-04-11T22:49:26.613" v="2539"/>
          <ac:spMkLst>
            <pc:docMk/>
            <pc:sldMk cId="3855907865" sldId="1893"/>
            <ac:spMk id="5" creationId="{9FDE41D7-4637-0849-CB62-65FD7DA0F80D}"/>
          </ac:spMkLst>
        </pc:spChg>
        <pc:spChg chg="add mod">
          <ac:chgData name="Minh Hieu Chu" userId="456c32a0d5ebc4ce" providerId="LiveId" clId="{DBBC106B-624F-4A7C-9EDC-5B980619B417}" dt="2025-04-12T01:02:34.380" v="2826" actId="403"/>
          <ac:spMkLst>
            <pc:docMk/>
            <pc:sldMk cId="3855907865" sldId="1893"/>
            <ac:spMk id="45" creationId="{815446E9-3B3F-CA2D-D9EB-21F40A16B38D}"/>
          </ac:spMkLst>
        </pc:spChg>
        <pc:spChg chg="add mod">
          <ac:chgData name="Minh Hieu Chu" userId="456c32a0d5ebc4ce" providerId="LiveId" clId="{DBBC106B-624F-4A7C-9EDC-5B980619B417}" dt="2025-04-12T00:51:30.832" v="2773"/>
          <ac:spMkLst>
            <pc:docMk/>
            <pc:sldMk cId="3855907865" sldId="1893"/>
            <ac:spMk id="46" creationId="{6521E6AE-8FE2-5E8F-2563-DEABBBC8521F}"/>
          </ac:spMkLst>
        </pc:spChg>
        <pc:grpChg chg="add mod">
          <ac:chgData name="Minh Hieu Chu" userId="456c32a0d5ebc4ce" providerId="LiveId" clId="{DBBC106B-624F-4A7C-9EDC-5B980619B417}" dt="2025-04-12T01:02:20.296" v="2822" actId="14100"/>
          <ac:grpSpMkLst>
            <pc:docMk/>
            <pc:sldMk cId="3855907865" sldId="1893"/>
            <ac:grpSpMk id="44" creationId="{1F3369D8-9FB3-8A60-B6B0-47EBEB6D9AC8}"/>
          </ac:grpSpMkLst>
        </pc:grpChg>
        <pc:graphicFrameChg chg="add mod modGraphic">
          <ac:chgData name="Minh Hieu Chu" userId="456c32a0d5ebc4ce" providerId="LiveId" clId="{DBBC106B-624F-4A7C-9EDC-5B980619B417}" dt="2025-04-12T00:52:25.439" v="2780" actId="20577"/>
          <ac:graphicFrameMkLst>
            <pc:docMk/>
            <pc:sldMk cId="3855907865" sldId="1893"/>
            <ac:graphicFrameMk id="3" creationId="{92E1E373-4572-5718-EE99-6F1AEC05B88F}"/>
          </ac:graphicFrameMkLst>
        </pc:graphicFrameChg>
        <pc:cxnChg chg="add mod">
          <ac:chgData name="Minh Hieu Chu" userId="456c32a0d5ebc4ce" providerId="LiveId" clId="{DBBC106B-624F-4A7C-9EDC-5B980619B417}" dt="2025-04-12T00:49:39.990" v="2758" actId="164"/>
          <ac:cxnSpMkLst>
            <pc:docMk/>
            <pc:sldMk cId="3855907865" sldId="1893"/>
            <ac:cxnSpMk id="38" creationId="{BB55A349-4675-22F4-FB5C-9D8124D0987C}"/>
          </ac:cxnSpMkLst>
        </pc:cxnChg>
        <pc:cxnChg chg="add mod">
          <ac:chgData name="Minh Hieu Chu" userId="456c32a0d5ebc4ce" providerId="LiveId" clId="{DBBC106B-624F-4A7C-9EDC-5B980619B417}" dt="2025-04-12T00:49:39.990" v="2758" actId="164"/>
          <ac:cxnSpMkLst>
            <pc:docMk/>
            <pc:sldMk cId="3855907865" sldId="1893"/>
            <ac:cxnSpMk id="40" creationId="{0777C818-BB9E-9901-7B5A-521AA2065ABA}"/>
          </ac:cxnSpMkLst>
        </pc:cxnChg>
        <pc:cxnChg chg="add mod">
          <ac:chgData name="Minh Hieu Chu" userId="456c32a0d5ebc4ce" providerId="LiveId" clId="{DBBC106B-624F-4A7C-9EDC-5B980619B417}" dt="2025-04-12T00:49:39.990" v="2758" actId="164"/>
          <ac:cxnSpMkLst>
            <pc:docMk/>
            <pc:sldMk cId="3855907865" sldId="1893"/>
            <ac:cxnSpMk id="43" creationId="{2DAAE072-C155-21AE-E98A-6060F6C317BF}"/>
          </ac:cxnSpMkLst>
        </pc:cxnChg>
      </pc:sldChg>
      <pc:sldChg chg="addSp delSp modSp add mod">
        <pc:chgData name="Minh Hieu Chu" userId="456c32a0d5ebc4ce" providerId="LiveId" clId="{DBBC106B-624F-4A7C-9EDC-5B980619B417}" dt="2025-04-12T01:53:17.690" v="3523"/>
        <pc:sldMkLst>
          <pc:docMk/>
          <pc:sldMk cId="2820373908" sldId="1894"/>
        </pc:sldMkLst>
        <pc:spChg chg="add mod">
          <ac:chgData name="Minh Hieu Chu" userId="456c32a0d5ebc4ce" providerId="LiveId" clId="{DBBC106B-624F-4A7C-9EDC-5B980619B417}" dt="2025-04-12T01:17:29.019" v="2944"/>
          <ac:spMkLst>
            <pc:docMk/>
            <pc:sldMk cId="2820373908" sldId="1894"/>
            <ac:spMk id="3" creationId="{174D6E3B-DE1E-57BB-BF6A-D1B66E2FF85B}"/>
          </ac:spMkLst>
        </pc:spChg>
        <pc:spChg chg="mod">
          <ac:chgData name="Minh Hieu Chu" userId="456c32a0d5ebc4ce" providerId="LiveId" clId="{DBBC106B-624F-4A7C-9EDC-5B980619B417}" dt="2025-04-12T01:08:15.256" v="2939"/>
          <ac:spMkLst>
            <pc:docMk/>
            <pc:sldMk cId="2820373908" sldId="1894"/>
            <ac:spMk id="5" creationId="{B273EEBB-0775-261A-7AEF-474CA0704F6E}"/>
          </ac:spMkLst>
        </pc:spChg>
        <pc:graphicFrameChg chg="add mod modGraphic">
          <ac:chgData name="Minh Hieu Chu" userId="456c32a0d5ebc4ce" providerId="LiveId" clId="{DBBC106B-624F-4A7C-9EDC-5B980619B417}" dt="2025-04-12T01:53:17.690" v="3523"/>
          <ac:graphicFrameMkLst>
            <pc:docMk/>
            <pc:sldMk cId="2820373908" sldId="1894"/>
            <ac:graphicFrameMk id="64" creationId="{0294D55B-0283-40C4-2D32-A74C40296BCB}"/>
          </ac:graphicFrameMkLst>
        </pc:graphicFrameChg>
      </pc:sldChg>
      <pc:sldChg chg="addSp delSp modSp add mod">
        <pc:chgData name="Minh Hieu Chu" userId="456c32a0d5ebc4ce" providerId="LiveId" clId="{DBBC106B-624F-4A7C-9EDC-5B980619B417}" dt="2025-04-11T22:39:08.546" v="2538" actId="207"/>
        <pc:sldMkLst>
          <pc:docMk/>
          <pc:sldMk cId="878835421" sldId="1895"/>
        </pc:sldMkLst>
        <pc:spChg chg="mod">
          <ac:chgData name="Minh Hieu Chu" userId="456c32a0d5ebc4ce" providerId="LiveId" clId="{DBBC106B-624F-4A7C-9EDC-5B980619B417}" dt="2025-04-11T22:39:08.546" v="2538" actId="207"/>
          <ac:spMkLst>
            <pc:docMk/>
            <pc:sldMk cId="878835421" sldId="1895"/>
            <ac:spMk id="14" creationId="{CF44AA68-C362-3A5A-910A-D80014261FB0}"/>
          </ac:spMkLst>
        </pc:spChg>
        <pc:picChg chg="add mod">
          <ac:chgData name="Minh Hieu Chu" userId="456c32a0d5ebc4ce" providerId="LiveId" clId="{DBBC106B-624F-4A7C-9EDC-5B980619B417}" dt="2025-04-11T22:38:04.603" v="2530" actId="1076"/>
          <ac:picMkLst>
            <pc:docMk/>
            <pc:sldMk cId="878835421" sldId="1895"/>
            <ac:picMk id="8" creationId="{FF6502FE-7B49-617E-75F6-7D8E3E216C07}"/>
          </ac:picMkLst>
        </pc:picChg>
      </pc:sldChg>
      <pc:sldChg chg="addSp modSp add mod">
        <pc:chgData name="Minh Hieu Chu" userId="456c32a0d5ebc4ce" providerId="LiveId" clId="{DBBC106B-624F-4A7C-9EDC-5B980619B417}" dt="2025-04-12T02:00:26.444" v="3602" actId="1076"/>
        <pc:sldMkLst>
          <pc:docMk/>
          <pc:sldMk cId="3103711945" sldId="1896"/>
        </pc:sldMkLst>
        <pc:spChg chg="add mod">
          <ac:chgData name="Minh Hieu Chu" userId="456c32a0d5ebc4ce" providerId="LiveId" clId="{DBBC106B-624F-4A7C-9EDC-5B980619B417}" dt="2025-04-12T01:54:57.489" v="3555" actId="20577"/>
          <ac:spMkLst>
            <pc:docMk/>
            <pc:sldMk cId="3103711945" sldId="1896"/>
            <ac:spMk id="3" creationId="{9BCF4219-4486-DDEB-84C5-E91131A062A0}"/>
          </ac:spMkLst>
        </pc:spChg>
        <pc:spChg chg="mod">
          <ac:chgData name="Minh Hieu Chu" userId="456c32a0d5ebc4ce" providerId="LiveId" clId="{DBBC106B-624F-4A7C-9EDC-5B980619B417}" dt="2025-04-12T01:54:46.878" v="3551"/>
          <ac:spMkLst>
            <pc:docMk/>
            <pc:sldMk cId="3103711945" sldId="1896"/>
            <ac:spMk id="5" creationId="{FB23D183-A84E-EA63-9CE1-CE615E1662BB}"/>
          </ac:spMkLst>
        </pc:spChg>
        <pc:spChg chg="add mod">
          <ac:chgData name="Minh Hieu Chu" userId="456c32a0d5ebc4ce" providerId="LiveId" clId="{DBBC106B-624F-4A7C-9EDC-5B980619B417}" dt="2025-04-12T02:00:08.591" v="3598" actId="1076"/>
          <ac:spMkLst>
            <pc:docMk/>
            <pc:sldMk cId="3103711945" sldId="1896"/>
            <ac:spMk id="12" creationId="{0D647DCC-10DD-FCEC-C392-148945358B09}"/>
          </ac:spMkLst>
        </pc:spChg>
        <pc:spChg chg="add mod">
          <ac:chgData name="Minh Hieu Chu" userId="456c32a0d5ebc4ce" providerId="LiveId" clId="{DBBC106B-624F-4A7C-9EDC-5B980619B417}" dt="2025-04-12T02:00:26.444" v="3602" actId="1076"/>
          <ac:spMkLst>
            <pc:docMk/>
            <pc:sldMk cId="3103711945" sldId="1896"/>
            <ac:spMk id="13" creationId="{D736A3DE-70F1-7DD6-CD51-9804A567BD9B}"/>
          </ac:spMkLst>
        </pc:spChg>
        <pc:picChg chg="add mod">
          <ac:chgData name="Minh Hieu Chu" userId="456c32a0d5ebc4ce" providerId="LiveId" clId="{DBBC106B-624F-4A7C-9EDC-5B980619B417}" dt="2025-04-12T02:00:15.508" v="3601" actId="554"/>
          <ac:picMkLst>
            <pc:docMk/>
            <pc:sldMk cId="3103711945" sldId="1896"/>
            <ac:picMk id="7" creationId="{3D07B080-E788-2BC3-7CF8-9FBE46D68388}"/>
          </ac:picMkLst>
        </pc:picChg>
        <pc:picChg chg="add mod">
          <ac:chgData name="Minh Hieu Chu" userId="456c32a0d5ebc4ce" providerId="LiveId" clId="{DBBC106B-624F-4A7C-9EDC-5B980619B417}" dt="2025-04-12T02:00:15.508" v="3601" actId="554"/>
          <ac:picMkLst>
            <pc:docMk/>
            <pc:sldMk cId="3103711945" sldId="1896"/>
            <ac:picMk id="8" creationId="{0D1D5A45-DF40-40E8-122D-5853A984F074}"/>
          </ac:picMkLst>
        </pc:picChg>
      </pc:sldChg>
      <pc:sldChg chg="add del">
        <pc:chgData name="Minh Hieu Chu" userId="456c32a0d5ebc4ce" providerId="LiveId" clId="{DBBC106B-624F-4A7C-9EDC-5B980619B417}" dt="2025-04-12T01:55:02.566" v="3556" actId="47"/>
        <pc:sldMkLst>
          <pc:docMk/>
          <pc:sldMk cId="2535467364" sldId="1897"/>
        </pc:sldMkLst>
      </pc:sldChg>
      <pc:sldChg chg="addSp modSp add mod">
        <pc:chgData name="Minh Hieu Chu" userId="456c32a0d5ebc4ce" providerId="LiveId" clId="{DBBC106B-624F-4A7C-9EDC-5B980619B417}" dt="2025-04-12T01:01:36.036" v="2821" actId="2711"/>
        <pc:sldMkLst>
          <pc:docMk/>
          <pc:sldMk cId="467145941" sldId="1898"/>
        </pc:sldMkLst>
        <pc:spChg chg="add mod">
          <ac:chgData name="Minh Hieu Chu" userId="456c32a0d5ebc4ce" providerId="LiveId" clId="{DBBC106B-624F-4A7C-9EDC-5B980619B417}" dt="2025-04-12T01:00:09.999" v="2808"/>
          <ac:spMkLst>
            <pc:docMk/>
            <pc:sldMk cId="467145941" sldId="1898"/>
            <ac:spMk id="3" creationId="{B4130B59-25D0-C524-2973-014AE8DE63AB}"/>
          </ac:spMkLst>
        </pc:spChg>
        <pc:spChg chg="mod">
          <ac:chgData name="Minh Hieu Chu" userId="456c32a0d5ebc4ce" providerId="LiveId" clId="{DBBC106B-624F-4A7C-9EDC-5B980619B417}" dt="2025-04-12T00:59:40.773" v="2803"/>
          <ac:spMkLst>
            <pc:docMk/>
            <pc:sldMk cId="467145941" sldId="1898"/>
            <ac:spMk id="5" creationId="{5C4ADA3C-83D4-C9F5-4A2B-86466B293CBE}"/>
          </ac:spMkLst>
        </pc:spChg>
        <pc:spChg chg="add mod">
          <ac:chgData name="Minh Hieu Chu" userId="456c32a0d5ebc4ce" providerId="LiveId" clId="{DBBC106B-624F-4A7C-9EDC-5B980619B417}" dt="2025-04-12T01:01:36.036" v="2821" actId="2711"/>
          <ac:spMkLst>
            <pc:docMk/>
            <pc:sldMk cId="467145941" sldId="1898"/>
            <ac:spMk id="7" creationId="{99B0B62D-023A-ECF5-7283-C97A76339D6B}"/>
          </ac:spMkLst>
        </pc:spChg>
      </pc:sldChg>
      <pc:sldChg chg="add del">
        <pc:chgData name="Minh Hieu Chu" userId="456c32a0d5ebc4ce" providerId="LiveId" clId="{DBBC106B-624F-4A7C-9EDC-5B980619B417}" dt="2025-04-12T01:00:12.373" v="2809" actId="47"/>
        <pc:sldMkLst>
          <pc:docMk/>
          <pc:sldMk cId="2301153993" sldId="1899"/>
        </pc:sldMkLst>
      </pc:sldChg>
      <pc:sldChg chg="addSp modSp add del mod">
        <pc:chgData name="Minh Hieu Chu" userId="456c32a0d5ebc4ce" providerId="LiveId" clId="{DBBC106B-624F-4A7C-9EDC-5B980619B417}" dt="2025-04-12T01:01:22.392" v="2819" actId="47"/>
        <pc:sldMkLst>
          <pc:docMk/>
          <pc:sldMk cId="1331566843" sldId="1900"/>
        </pc:sldMkLst>
      </pc:sldChg>
      <pc:sldChg chg="modSp add mod">
        <pc:chgData name="Minh Hieu Chu" userId="456c32a0d5ebc4ce" providerId="LiveId" clId="{DBBC106B-624F-4A7C-9EDC-5B980619B417}" dt="2025-04-12T01:01:31.731" v="2820" actId="2711"/>
        <pc:sldMkLst>
          <pc:docMk/>
          <pc:sldMk cId="232877780" sldId="1901"/>
        </pc:sldMkLst>
        <pc:spChg chg="mod">
          <ac:chgData name="Minh Hieu Chu" userId="456c32a0d5ebc4ce" providerId="LiveId" clId="{DBBC106B-624F-4A7C-9EDC-5B980619B417}" dt="2025-04-12T01:01:14.462" v="2817"/>
          <ac:spMkLst>
            <pc:docMk/>
            <pc:sldMk cId="232877780" sldId="1901"/>
            <ac:spMk id="3" creationId="{BF3D8E2C-53E5-02E1-DACE-CC517ADF215C}"/>
          </ac:spMkLst>
        </pc:spChg>
        <pc:spChg chg="mod">
          <ac:chgData name="Minh Hieu Chu" userId="456c32a0d5ebc4ce" providerId="LiveId" clId="{DBBC106B-624F-4A7C-9EDC-5B980619B417}" dt="2025-04-12T01:01:31.731" v="2820" actId="2711"/>
          <ac:spMkLst>
            <pc:docMk/>
            <pc:sldMk cId="232877780" sldId="1901"/>
            <ac:spMk id="7" creationId="{D937D16D-B53A-86B9-43BD-FCAD1F3590FE}"/>
          </ac:spMkLst>
        </pc:spChg>
      </pc:sldChg>
      <pc:sldChg chg="add del ord">
        <pc:chgData name="Minh Hieu Chu" userId="456c32a0d5ebc4ce" providerId="LiveId" clId="{DBBC106B-624F-4A7C-9EDC-5B980619B417}" dt="2025-04-12T01:53:59.114" v="3549" actId="47"/>
        <pc:sldMkLst>
          <pc:docMk/>
          <pc:sldMk cId="1971083660" sldId="1902"/>
        </pc:sldMkLst>
      </pc:sldChg>
      <pc:sldChg chg="modSp add mod">
        <pc:chgData name="Minh Hieu Chu" userId="456c32a0d5ebc4ce" providerId="LiveId" clId="{DBBC106B-624F-4A7C-9EDC-5B980619B417}" dt="2025-04-12T01:53:55.307" v="3548" actId="20577"/>
        <pc:sldMkLst>
          <pc:docMk/>
          <pc:sldMk cId="532414381" sldId="1903"/>
        </pc:sldMkLst>
        <pc:graphicFrameChg chg="mod modGraphic">
          <ac:chgData name="Minh Hieu Chu" userId="456c32a0d5ebc4ce" providerId="LiveId" clId="{DBBC106B-624F-4A7C-9EDC-5B980619B417}" dt="2025-04-12T01:53:55.307" v="3548" actId="20577"/>
          <ac:graphicFrameMkLst>
            <pc:docMk/>
            <pc:sldMk cId="532414381" sldId="1903"/>
            <ac:graphicFrameMk id="64" creationId="{839502AC-F5F4-BF25-DD65-35634136C43B}"/>
          </ac:graphicFrameMkLst>
        </pc:graphicFrameChg>
      </pc:sldChg>
      <pc:sldChg chg="add del">
        <pc:chgData name="Minh Hieu Chu" userId="456c32a0d5ebc4ce" providerId="LiveId" clId="{DBBC106B-624F-4A7C-9EDC-5B980619B417}" dt="2025-04-12T01:24:11.470" v="2950" actId="47"/>
        <pc:sldMkLst>
          <pc:docMk/>
          <pc:sldMk cId="1357921941" sldId="1903"/>
        </pc:sldMkLst>
      </pc:sldChg>
      <pc:sldChg chg="addSp modSp add mod">
        <pc:chgData name="Minh Hieu Chu" userId="456c32a0d5ebc4ce" providerId="LiveId" clId="{DBBC106B-624F-4A7C-9EDC-5B980619B417}" dt="2025-04-12T02:02:41.576" v="3659" actId="14100"/>
        <pc:sldMkLst>
          <pc:docMk/>
          <pc:sldMk cId="4178281641" sldId="1904"/>
        </pc:sldMkLst>
        <pc:spChg chg="mod">
          <ac:chgData name="Minh Hieu Chu" userId="456c32a0d5ebc4ce" providerId="LiveId" clId="{DBBC106B-624F-4A7C-9EDC-5B980619B417}" dt="2025-04-12T02:00:43.343" v="3603"/>
          <ac:spMkLst>
            <pc:docMk/>
            <pc:sldMk cId="4178281641" sldId="1904"/>
            <ac:spMk id="3" creationId="{0D1805B4-C059-A6F4-2CA4-AA3ED2CE9F49}"/>
          </ac:spMkLst>
        </pc:spChg>
        <pc:spChg chg="add mod">
          <ac:chgData name="Minh Hieu Chu" userId="456c32a0d5ebc4ce" providerId="LiveId" clId="{DBBC106B-624F-4A7C-9EDC-5B980619B417}" dt="2025-04-12T02:02:39.889" v="3658" actId="14100"/>
          <ac:spMkLst>
            <pc:docMk/>
            <pc:sldMk cId="4178281641" sldId="1904"/>
            <ac:spMk id="8" creationId="{34B9A523-5346-432B-8F5D-A6771A71A6CC}"/>
          </ac:spMkLst>
        </pc:spChg>
        <pc:spChg chg="add mod">
          <ac:chgData name="Minh Hieu Chu" userId="456c32a0d5ebc4ce" providerId="LiveId" clId="{DBBC106B-624F-4A7C-9EDC-5B980619B417}" dt="2025-04-12T02:02:41.576" v="3659" actId="14100"/>
          <ac:spMkLst>
            <pc:docMk/>
            <pc:sldMk cId="4178281641" sldId="1904"/>
            <ac:spMk id="12" creationId="{114754C1-2CA6-C1D8-1094-22588021299F}"/>
          </ac:spMkLst>
        </pc:spChg>
        <pc:picChg chg="add mod">
          <ac:chgData name="Minh Hieu Chu" userId="456c32a0d5ebc4ce" providerId="LiveId" clId="{DBBC106B-624F-4A7C-9EDC-5B980619B417}" dt="2025-04-12T02:01:17.192" v="3610" actId="14100"/>
          <ac:picMkLst>
            <pc:docMk/>
            <pc:sldMk cId="4178281641" sldId="1904"/>
            <ac:picMk id="7" creationId="{B05C0306-3A3D-D905-ACE9-9E57DB544CB3}"/>
          </ac:picMkLst>
        </pc:picChg>
      </pc:sldChg>
      <pc:sldChg chg="addSp delSp modSp add del mod modAnim">
        <pc:chgData name="Minh Hieu Chu" userId="456c32a0d5ebc4ce" providerId="LiveId" clId="{DBBC106B-624F-4A7C-9EDC-5B980619B417}" dt="2025-04-12T02:33:54.527" v="3823" actId="47"/>
        <pc:sldMkLst>
          <pc:docMk/>
          <pc:sldMk cId="3974319030" sldId="1905"/>
        </pc:sldMkLst>
      </pc:sldChg>
      <pc:sldChg chg="addSp delSp modSp add del mod modTransition delAnim modAnim">
        <pc:chgData name="Minh Hieu Chu" userId="456c32a0d5ebc4ce" providerId="LiveId" clId="{DBBC106B-624F-4A7C-9EDC-5B980619B417}" dt="2025-04-14T02:11:48.033" v="4009" actId="47"/>
        <pc:sldMkLst>
          <pc:docMk/>
          <pc:sldMk cId="1201519131" sldId="1906"/>
        </pc:sldMkLst>
        <pc:picChg chg="add mod">
          <ac:chgData name="Minh Hieu Chu" userId="456c32a0d5ebc4ce" providerId="LiveId" clId="{DBBC106B-624F-4A7C-9EDC-5B980619B417}" dt="2025-04-13T23:37:07.747" v="3931"/>
          <ac:picMkLst>
            <pc:docMk/>
            <pc:sldMk cId="1201519131" sldId="1906"/>
            <ac:picMk id="2" creationId="{ECCFD066-4E4D-2DA9-7B57-410576963F98}"/>
          </ac:picMkLst>
        </pc:picChg>
        <pc:picChg chg="del mod">
          <ac:chgData name="Minh Hieu Chu" userId="456c32a0d5ebc4ce" providerId="LiveId" clId="{DBBC106B-624F-4A7C-9EDC-5B980619B417}" dt="2025-04-13T23:35:19.362" v="3930" actId="478"/>
          <ac:picMkLst>
            <pc:docMk/>
            <pc:sldMk cId="1201519131" sldId="1906"/>
            <ac:picMk id="13" creationId="{D6CA603A-D760-872F-6A1B-AA6383AE233A}"/>
          </ac:picMkLst>
        </pc:picChg>
      </pc:sldChg>
      <pc:sldChg chg="addSp delSp modSp add mod modTransition delAnim modAnim">
        <pc:chgData name="Minh Hieu Chu" userId="456c32a0d5ebc4ce" providerId="LiveId" clId="{DBBC106B-624F-4A7C-9EDC-5B980619B417}" dt="2025-04-14T01:52:19.854" v="3998"/>
        <pc:sldMkLst>
          <pc:docMk/>
          <pc:sldMk cId="1245410668" sldId="1907"/>
        </pc:sldMkLst>
        <pc:spChg chg="add mod">
          <ac:chgData name="Minh Hieu Chu" userId="456c32a0d5ebc4ce" providerId="LiveId" clId="{DBBC106B-624F-4A7C-9EDC-5B980619B417}" dt="2025-04-12T02:30:58.587" v="3788" actId="14100"/>
          <ac:spMkLst>
            <pc:docMk/>
            <pc:sldMk cId="1245410668" sldId="1907"/>
            <ac:spMk id="25" creationId="{C029BF57-2A3A-D5F3-CFBC-FDD9CA6AD2CA}"/>
          </ac:spMkLst>
        </pc:spChg>
        <pc:picChg chg="add mod ord">
          <ac:chgData name="Minh Hieu Chu" userId="456c32a0d5ebc4ce" providerId="LiveId" clId="{DBBC106B-624F-4A7C-9EDC-5B980619B417}" dt="2025-04-12T02:31:09.236" v="3791" actId="1076"/>
          <ac:picMkLst>
            <pc:docMk/>
            <pc:sldMk cId="1245410668" sldId="1907"/>
            <ac:picMk id="27" creationId="{43C2B164-C013-0420-2F6C-9338F26EEF8F}"/>
          </ac:picMkLst>
        </pc:picChg>
      </pc:sldChg>
      <pc:sldChg chg="addSp modSp add mod">
        <pc:chgData name="Minh Hieu Chu" userId="456c32a0d5ebc4ce" providerId="LiveId" clId="{DBBC106B-624F-4A7C-9EDC-5B980619B417}" dt="2025-04-14T21:11:37.708" v="4010" actId="14100"/>
        <pc:sldMkLst>
          <pc:docMk/>
          <pc:sldMk cId="508798799" sldId="1908"/>
        </pc:sldMkLst>
        <pc:spChg chg="mod">
          <ac:chgData name="Minh Hieu Chu" userId="456c32a0d5ebc4ce" providerId="LiveId" clId="{DBBC106B-624F-4A7C-9EDC-5B980619B417}" dt="2025-04-14T01:37:01.103" v="3990" actId="164"/>
          <ac:spMkLst>
            <pc:docMk/>
            <pc:sldMk cId="508798799" sldId="1908"/>
            <ac:spMk id="8" creationId="{4990AD3D-C8F7-0B35-EBFD-A548E61DE3F5}"/>
          </ac:spMkLst>
        </pc:spChg>
        <pc:spChg chg="mod">
          <ac:chgData name="Minh Hieu Chu" userId="456c32a0d5ebc4ce" providerId="LiveId" clId="{DBBC106B-624F-4A7C-9EDC-5B980619B417}" dt="2025-04-14T01:37:01.103" v="3990" actId="164"/>
          <ac:spMkLst>
            <pc:docMk/>
            <pc:sldMk cId="508798799" sldId="1908"/>
            <ac:spMk id="12" creationId="{A4C3A767-AEDD-5EAD-5015-C0F9C79A72EC}"/>
          </ac:spMkLst>
        </pc:spChg>
        <pc:spChg chg="mod">
          <ac:chgData name="Minh Hieu Chu" userId="456c32a0d5ebc4ce" providerId="LiveId" clId="{DBBC106B-624F-4A7C-9EDC-5B980619B417}" dt="2025-04-14T01:36:48.418" v="3970" actId="164"/>
          <ac:spMkLst>
            <pc:docMk/>
            <pc:sldMk cId="508798799" sldId="1908"/>
            <ac:spMk id="13" creationId="{29123DB1-73B8-A40B-3FEB-F8C6C9B517D4}"/>
          </ac:spMkLst>
        </pc:spChg>
        <pc:spChg chg="mod">
          <ac:chgData name="Minh Hieu Chu" userId="456c32a0d5ebc4ce" providerId="LiveId" clId="{DBBC106B-624F-4A7C-9EDC-5B980619B417}" dt="2025-04-14T21:11:37.708" v="4010" actId="14100"/>
          <ac:spMkLst>
            <pc:docMk/>
            <pc:sldMk cId="508798799" sldId="1908"/>
            <ac:spMk id="14" creationId="{BEE5CFAC-80D3-758B-D42B-A4BF3A8118B2}"/>
          </ac:spMkLst>
        </pc:spChg>
        <pc:spChg chg="mod">
          <ac:chgData name="Minh Hieu Chu" userId="456c32a0d5ebc4ce" providerId="LiveId" clId="{DBBC106B-624F-4A7C-9EDC-5B980619B417}" dt="2025-04-14T01:36:58.634" v="3989" actId="164"/>
          <ac:spMkLst>
            <pc:docMk/>
            <pc:sldMk cId="508798799" sldId="1908"/>
            <ac:spMk id="15" creationId="{DDE2F486-A601-2CBB-D279-E4853DCF12E4}"/>
          </ac:spMkLst>
        </pc:spChg>
        <pc:spChg chg="mod">
          <ac:chgData name="Minh Hieu Chu" userId="456c32a0d5ebc4ce" providerId="LiveId" clId="{DBBC106B-624F-4A7C-9EDC-5B980619B417}" dt="2025-04-14T01:36:58.634" v="3989" actId="164"/>
          <ac:spMkLst>
            <pc:docMk/>
            <pc:sldMk cId="508798799" sldId="1908"/>
            <ac:spMk id="16" creationId="{CF60C1AB-A357-0CC5-C83B-28BE314BC884}"/>
          </ac:spMkLst>
        </pc:spChg>
        <pc:grpChg chg="add mod">
          <ac:chgData name="Minh Hieu Chu" userId="456c32a0d5ebc4ce" providerId="LiveId" clId="{DBBC106B-624F-4A7C-9EDC-5B980619B417}" dt="2025-04-14T01:37:09.221" v="3991" actId="465"/>
          <ac:grpSpMkLst>
            <pc:docMk/>
            <pc:sldMk cId="508798799" sldId="1908"/>
            <ac:grpSpMk id="20" creationId="{EDE3959A-30AB-548E-C617-A5816C6A5214}"/>
          </ac:grpSpMkLst>
        </pc:grpChg>
        <pc:grpChg chg="add mod">
          <ac:chgData name="Minh Hieu Chu" userId="456c32a0d5ebc4ce" providerId="LiveId" clId="{DBBC106B-624F-4A7C-9EDC-5B980619B417}" dt="2025-04-14T01:36:58.634" v="3989" actId="164"/>
          <ac:grpSpMkLst>
            <pc:docMk/>
            <pc:sldMk cId="508798799" sldId="1908"/>
            <ac:grpSpMk id="21" creationId="{09423AEA-DB44-B4AD-78FA-C98764CA7BAE}"/>
          </ac:grpSpMkLst>
        </pc:grpChg>
        <pc:grpChg chg="add mod">
          <ac:chgData name="Minh Hieu Chu" userId="456c32a0d5ebc4ce" providerId="LiveId" clId="{DBBC106B-624F-4A7C-9EDC-5B980619B417}" dt="2025-04-14T01:37:01.103" v="3990" actId="164"/>
          <ac:grpSpMkLst>
            <pc:docMk/>
            <pc:sldMk cId="508798799" sldId="1908"/>
            <ac:grpSpMk id="22" creationId="{75695DB2-8F99-1B53-6D7D-5A716936CE0D}"/>
          </ac:grpSpMkLst>
        </pc:grpChg>
        <pc:picChg chg="mod">
          <ac:chgData name="Minh Hieu Chu" userId="456c32a0d5ebc4ce" providerId="LiveId" clId="{DBBC106B-624F-4A7C-9EDC-5B980619B417}" dt="2025-04-14T01:37:01.103" v="3990" actId="164"/>
          <ac:picMkLst>
            <pc:docMk/>
            <pc:sldMk cId="508798799" sldId="1908"/>
            <ac:picMk id="17" creationId="{596C4F02-B3FA-DF57-55D0-C4B964CB6E99}"/>
          </ac:picMkLst>
        </pc:picChg>
        <pc:picChg chg="mod">
          <ac:chgData name="Minh Hieu Chu" userId="456c32a0d5ebc4ce" providerId="LiveId" clId="{DBBC106B-624F-4A7C-9EDC-5B980619B417}" dt="2025-04-14T01:36:58.634" v="3989" actId="164"/>
          <ac:picMkLst>
            <pc:docMk/>
            <pc:sldMk cId="508798799" sldId="1908"/>
            <ac:picMk id="18" creationId="{94086477-46D9-C15B-6F6B-7EA0C06EFAF6}"/>
          </ac:picMkLst>
        </pc:picChg>
        <pc:picChg chg="mod">
          <ac:chgData name="Minh Hieu Chu" userId="456c32a0d5ebc4ce" providerId="LiveId" clId="{DBBC106B-624F-4A7C-9EDC-5B980619B417}" dt="2025-04-14T01:36:48.418" v="3970" actId="164"/>
          <ac:picMkLst>
            <pc:docMk/>
            <pc:sldMk cId="508798799" sldId="1908"/>
            <ac:picMk id="19" creationId="{7D0EB0F2-63E1-C89D-512C-D642811A7A0B}"/>
          </ac:picMkLst>
        </pc:picChg>
        <pc:cxnChg chg="mod">
          <ac:chgData name="Minh Hieu Chu" userId="456c32a0d5ebc4ce" providerId="LiveId" clId="{DBBC106B-624F-4A7C-9EDC-5B980619B417}" dt="2025-04-14T01:37:23.346" v="3992" actId="14100"/>
          <ac:cxnSpMkLst>
            <pc:docMk/>
            <pc:sldMk cId="508798799" sldId="1908"/>
            <ac:cxnSpMk id="3" creationId="{F8A9F7F6-A7FD-9165-DECF-0D9DAC448469}"/>
          </ac:cxnSpMkLst>
        </pc:cxnChg>
        <pc:cxnChg chg="mod">
          <ac:chgData name="Minh Hieu Chu" userId="456c32a0d5ebc4ce" providerId="LiveId" clId="{DBBC106B-624F-4A7C-9EDC-5B980619B417}" dt="2025-04-14T01:37:29.274" v="3993" actId="14100"/>
          <ac:cxnSpMkLst>
            <pc:docMk/>
            <pc:sldMk cId="508798799" sldId="1908"/>
            <ac:cxnSpMk id="7" creationId="{AB2E28E5-81A5-ECC3-D3A7-8DCCBCCAFB74}"/>
          </ac:cxnSpMkLst>
        </pc:cxnChg>
      </pc:sldChg>
      <pc:sldChg chg="addSp delSp modSp add del mod">
        <pc:chgData name="Minh Hieu Chu" userId="456c32a0d5ebc4ce" providerId="LiveId" clId="{DBBC106B-624F-4A7C-9EDC-5B980619B417}" dt="2025-04-12T18:25:28.514" v="3929" actId="47"/>
        <pc:sldMkLst>
          <pc:docMk/>
          <pc:sldMk cId="2059059262" sldId="1908"/>
        </pc:sldMkLst>
      </pc:sldChg>
      <pc:sldChg chg="addSp delSp modSp add del mod ord delAnim modAnim">
        <pc:chgData name="Minh Hieu Chu" userId="456c32a0d5ebc4ce" providerId="LiveId" clId="{DBBC106B-624F-4A7C-9EDC-5B980619B417}" dt="2025-04-14T02:10:22.072" v="4008"/>
        <pc:sldMkLst>
          <pc:docMk/>
          <pc:sldMk cId="306593141" sldId="1909"/>
        </pc:sldMkLst>
        <pc:picChg chg="del">
          <ac:chgData name="Minh Hieu Chu" userId="456c32a0d5ebc4ce" providerId="LiveId" clId="{DBBC106B-624F-4A7C-9EDC-5B980619B417}" dt="2025-04-14T02:09:00.548" v="4002" actId="478"/>
          <ac:picMkLst>
            <pc:docMk/>
            <pc:sldMk cId="306593141" sldId="1909"/>
            <ac:picMk id="2" creationId="{29CB8DD8-3DCA-98D3-E097-29DF8E10FBE9}"/>
          </ac:picMkLst>
        </pc:picChg>
        <pc:picChg chg="add mod">
          <ac:chgData name="Minh Hieu Chu" userId="456c32a0d5ebc4ce" providerId="LiveId" clId="{DBBC106B-624F-4A7C-9EDC-5B980619B417}" dt="2025-04-14T02:09:37.665" v="4005" actId="14100"/>
          <ac:picMkLst>
            <pc:docMk/>
            <pc:sldMk cId="306593141" sldId="1909"/>
            <ac:picMk id="3" creationId="{084740A4-51FD-BAB0-1F8E-17FE42937AE9}"/>
          </ac:picMkLst>
        </pc:picChg>
      </pc:sldChg>
      <pc:sldChg chg="delSp add del mod">
        <pc:chgData name="Minh Hieu Chu" userId="456c32a0d5ebc4ce" providerId="LiveId" clId="{DBBC106B-624F-4A7C-9EDC-5B980619B417}" dt="2025-04-12T00:49:49.199" v="2760" actId="47"/>
        <pc:sldMkLst>
          <pc:docMk/>
          <pc:sldMk cId="1175352766" sldId="1927"/>
        </pc:sldMkLst>
      </pc:sldChg>
      <pc:sldChg chg="add del">
        <pc:chgData name="Minh Hieu Chu" userId="456c32a0d5ebc4ce" providerId="LiveId" clId="{DBBC106B-624F-4A7C-9EDC-5B980619B417}" dt="2025-04-11T22:34:53.011" v="2491" actId="47"/>
        <pc:sldMkLst>
          <pc:docMk/>
          <pc:sldMk cId="3135699453" sldId="1929"/>
        </pc:sldMkLst>
      </pc:sldChg>
      <pc:sldChg chg="delSp modSp add del mod">
        <pc:chgData name="Minh Hieu Chu" userId="456c32a0d5ebc4ce" providerId="LiveId" clId="{DBBC106B-624F-4A7C-9EDC-5B980619B417}" dt="2025-04-11T22:18:18.549" v="2221" actId="47"/>
        <pc:sldMkLst>
          <pc:docMk/>
          <pc:sldMk cId="3580645166" sldId="14917"/>
        </pc:sldMkLst>
      </pc:sldChg>
      <pc:sldChg chg="modSp add del mod">
        <pc:chgData name="Minh Hieu Chu" userId="456c32a0d5ebc4ce" providerId="LiveId" clId="{DBBC106B-624F-4A7C-9EDC-5B980619B417}" dt="2025-04-11T22:12:26.122" v="2182" actId="47"/>
        <pc:sldMkLst>
          <pc:docMk/>
          <pc:sldMk cId="1767677965" sldId="2134806605"/>
        </pc:sldMkLst>
      </pc:sldChg>
      <pc:sldMasterChg chg="delSldLayout">
        <pc:chgData name="Minh Hieu Chu" userId="456c32a0d5ebc4ce" providerId="LiveId" clId="{DBBC106B-624F-4A7C-9EDC-5B980619B417}" dt="2025-04-11T21:26:55.095" v="1603" actId="47"/>
        <pc:sldMasterMkLst>
          <pc:docMk/>
          <pc:sldMasterMk cId="0" sldId="2147483648"/>
        </pc:sldMasterMkLst>
        <pc:sldLayoutChg chg="del">
          <pc:chgData name="Minh Hieu Chu" userId="456c32a0d5ebc4ce" providerId="LiveId" clId="{DBBC106B-624F-4A7C-9EDC-5B980619B417}" dt="2025-04-11T21:26:55.095" v="1603" actId="47"/>
          <pc:sldLayoutMkLst>
            <pc:docMk/>
            <pc:sldMasterMk cId="0" sldId="2147483648"/>
            <pc:sldLayoutMk cId="2564481680" sldId="2147483660"/>
          </pc:sldLayoutMkLst>
        </pc:sldLayoutChg>
      </pc:sldMasterChg>
    </pc:docChg>
  </pc:docChgLst>
  <pc:docChgLst>
    <pc:chgData name="Minh Hieu Chu" userId="456c32a0d5ebc4ce" providerId="LiveId" clId="{78665F8E-4434-4512-856C-08673F183667}"/>
    <pc:docChg chg="modSld">
      <pc:chgData name="Minh Hieu Chu" userId="456c32a0d5ebc4ce" providerId="LiveId" clId="{78665F8E-4434-4512-856C-08673F183667}" dt="2025-04-07T20:16:41.997" v="1" actId="1076"/>
      <pc:docMkLst>
        <pc:docMk/>
      </pc:docMkLst>
      <pc:sldChg chg="modSp">
        <pc:chgData name="Minh Hieu Chu" userId="456c32a0d5ebc4ce" providerId="LiveId" clId="{78665F8E-4434-4512-856C-08673F183667}" dt="2025-04-07T20:16:41.997" v="1" actId="1076"/>
        <pc:sldMkLst>
          <pc:docMk/>
          <pc:sldMk cId="1938733071" sldId="280"/>
        </pc:sldMkLst>
      </pc:sldChg>
    </pc:docChg>
  </pc:docChgLst>
  <pc:docChgLst>
    <pc:chgData name="Rosali Corrales" userId="8d9d0ed4564266e5" providerId="Windows Live" clId="Web-{A1AD06DC-6FFE-4F06-BB39-434AFC7D3722}"/>
    <pc:docChg chg="modSld">
      <pc:chgData name="Rosali Corrales" userId="8d9d0ed4564266e5" providerId="Windows Live" clId="Web-{A1AD06DC-6FFE-4F06-BB39-434AFC7D3722}" dt="2025-04-10T22:03:49.810" v="8" actId="1076"/>
      <pc:docMkLst>
        <pc:docMk/>
      </pc:docMkLst>
      <pc:sldChg chg="modSp">
        <pc:chgData name="Rosali Corrales" userId="8d9d0ed4564266e5" providerId="Windows Live" clId="Web-{A1AD06DC-6FFE-4F06-BB39-434AFC7D3722}" dt="2025-04-10T22:02:09.885" v="7" actId="20577"/>
        <pc:sldMkLst>
          <pc:docMk/>
          <pc:sldMk cId="2320476712" sldId="286"/>
        </pc:sldMkLst>
      </pc:sldChg>
      <pc:sldChg chg="modSp">
        <pc:chgData name="Rosali Corrales" userId="8d9d0ed4564266e5" providerId="Windows Live" clId="Web-{A1AD06DC-6FFE-4F06-BB39-434AFC7D3722}" dt="2025-04-10T22:03:49.810" v="8" actId="1076"/>
        <pc:sldMkLst>
          <pc:docMk/>
          <pc:sldMk cId="1235851373" sldId="28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EDA23F-D151-48D4-99C5-93A87B7AC6C6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4D322-F559-407F-B703-5E5C3A96C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648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7542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7606F0-FC95-0F26-99DB-B41F020E6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470C3E-479A-7713-36AF-C1214311AE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C8FF739-F88D-0A81-B7BE-2D6C4F8CA4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33E422-AB1C-7CB7-A02B-29AB08148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9961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D6EAB-3CD1-669E-014F-3CB94D39D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DD508D-1422-374D-AA2F-0700025430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0E0173-B281-7722-A46A-88A67F2CA2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91CA55-44EC-3423-73C1-B8984BE423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7874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12E4B-5C47-14CE-1EE1-7A6ECDA6B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F3A58-FE1C-8DB2-26C6-50A1EE2EA1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43E692-59C1-434E-699F-EAE2FA8D09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305AB3-35F3-8768-8401-4506F9BE1A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536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04E6B-F4EA-84C8-8E5C-8AD391EDB1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E4CCFA-B81C-A82B-6F54-090CDE0213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4CE634-453F-C5F6-1F3F-24669649A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33C5F1-89B7-1E24-0BB4-DCA52C6F62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997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1379E-0C40-7493-C6E9-82081A7B7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93C16D-661B-740C-7D06-CC9EBDC088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FC3DCE-7AEF-ABFD-461E-34751A5BB6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FEFF11-9513-399F-CC5F-25A7453E5F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080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E41BC5-FD98-C45B-C65A-83C7776E6C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D71BF5-CD3F-3F5D-B636-7B2D94E248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6A518A-CDB3-DEB5-469D-45B221037A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90E5EC-4C27-E396-BA5D-C6BE815F37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850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26033-ADF1-DE85-F5A4-878C13728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F83D58-5724-BD8A-CB04-2C9D194311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625B5A-EBD9-5F55-B3F0-AFF0B22264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786B73-6E65-728B-8833-AE1414F117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9537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49026-9BAA-A67E-C197-E87FED56F9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53D3CF-2521-F18E-417E-8BDC463FA0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F03B36-B3E3-1D8E-F90A-C16793BB5B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ADD7CB-2432-E816-F845-A5EF374569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33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2BF049-3189-93AE-036F-FE8D58282B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229B117-AAC4-8403-5C7E-1E7F23F04A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BA14E0-AB3C-3C99-FBF7-B3AC420448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8C95F7-CEC8-C439-D5C8-9A2D7E6CA6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3033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1F402-269E-8332-B411-7F7FBB574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B40B39-FE15-2C1C-EB3B-E255680110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F872EF-83A4-2762-8FAE-BEEDE073F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D9696D-0193-C753-8011-025E0E9351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67C36-F1B9-E644-D574-2673EC3E7B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A3C23F-101B-7079-BC60-FBBABB337D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129D03-361D-C23B-C738-C69EC1FB2D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A2B4F2-5BFE-3680-5050-19F68DD63E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3554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B8B89-BA09-2933-FB81-7FE969470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8DE4123-667D-59A8-AD12-BBFD586877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9A383D-D26C-3DE5-D7FF-0A00FA839A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1A081C-F166-6841-FB17-8031D3BA1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061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931D3-D855-98FA-7A62-78E21A9A2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04AFD9-31EE-73EE-5B92-0ACE2D622B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078D97-3457-7887-80C7-0B1D539D62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779BA8-091A-402B-D079-60E8EF373B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609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FBB7B9-DF8C-AADB-5D8C-B59CF2F0F0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437BA6-A4AF-9EEC-AC96-80237A4850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D357EA-996C-9051-01D6-2460C4E28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FB4611-BC7F-DD00-5DA9-D874FC12F7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882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48772-51C7-065E-1474-C0C7126F8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24C5A2-3B11-BC5A-69EA-34880CB1B6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99F438-942A-D280-E235-3DBC873A79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408B4-61BA-3BB7-F450-F4D8FBA926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6570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B9A87A-ECBD-2CC6-ED81-AF942EF04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5E6618-C22A-75AA-0008-2819DA7472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ED02C2-3D07-B11D-0D01-24A20175F1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CE5EE-BFDF-2BCF-FB1E-2C8ECCDAF8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4704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4B578A-9BE9-987C-D4DB-CD807D43D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6A9B78-305B-49C5-D485-3AE2BBB72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3C4A36-05BE-9125-9D22-0B3ED39F0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C6551D-C711-457C-8301-210A812717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53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CD5D87-035E-A148-6D54-2F83ED715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18A90C-1365-BF85-D1B1-C8F5ED5BFD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5D5731-0BA7-2A14-DCCB-13CE045778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52835C-49CE-E58D-DBC8-803F443ED9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0693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44C16-E699-86CC-0494-E6D79A3D9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F31661-F582-BE96-227E-A60CFCF0B5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4613" y="741363"/>
            <a:ext cx="6594475" cy="37099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3FB50A-A12F-C55B-1514-5FF52D949B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CADE3-4ABE-561B-6E0B-AA4F95FC0B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0576E0-543E-4593-9F72-B82D27862858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370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10" Type="http://schemas.openxmlformats.org/officeDocument/2006/relationships/image" Target="../media/image32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jpeg"/><Relationship Id="rId2" Type="http://schemas.openxmlformats.org/officeDocument/2006/relationships/video" Target="https://www.youtube.com/embed/nSKLs5UU3qQ?feature=oembed" TargetMode="External"/><Relationship Id="rId1" Type="http://schemas.openxmlformats.org/officeDocument/2006/relationships/tags" Target="../tags/tag2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22.png"/><Relationship Id="rId5" Type="http://schemas.openxmlformats.org/officeDocument/2006/relationships/image" Target="../media/image12.emf"/><Relationship Id="rId10" Type="http://schemas.openxmlformats.org/officeDocument/2006/relationships/image" Target="../media/image21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0561" r="-27529" b="-6968"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8860703" y="1324108"/>
            <a:ext cx="1398750" cy="1398750"/>
            <a:chOff x="0" y="0"/>
            <a:chExt cx="812800" cy="8128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293E6B"/>
            </a:solidFill>
            <a:ln w="161925" cap="sq">
              <a:solidFill>
                <a:srgbClr val="3B599B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6" name="Group 6"/>
          <p:cNvGrpSpPr>
            <a:grpSpLocks noGrp="1" noUngrp="1" noRot="1" noMove="1" noResize="1"/>
          </p:cNvGrpSpPr>
          <p:nvPr/>
        </p:nvGrpSpPr>
        <p:grpSpPr>
          <a:xfrm>
            <a:off x="9912206" y="-1820352"/>
            <a:ext cx="13927705" cy="13927705"/>
            <a:chOff x="0" y="0"/>
            <a:chExt cx="812800" cy="812800"/>
          </a:xfrm>
        </p:grpSpPr>
        <p:sp>
          <p:nvSpPr>
            <p:cNvPr id="7" name="Freeform 7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B599B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TextBox 8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9" name="Group 9"/>
          <p:cNvGrpSpPr>
            <a:grpSpLocks noGrp="1" noUngrp="1" noRot="1" noMove="1" noResize="1"/>
          </p:cNvGrpSpPr>
          <p:nvPr/>
        </p:nvGrpSpPr>
        <p:grpSpPr>
          <a:xfrm>
            <a:off x="10092243" y="511698"/>
            <a:ext cx="812410" cy="812410"/>
            <a:chOff x="0" y="0"/>
            <a:chExt cx="812800" cy="812800"/>
          </a:xfrm>
        </p:grpSpPr>
        <p:sp>
          <p:nvSpPr>
            <p:cNvPr id="10" name="Freeform 10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293E6B"/>
            </a:solidFill>
            <a:ln w="161925" cap="sq">
              <a:solidFill>
                <a:srgbClr val="3B599B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11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sp>
        <p:nvSpPr>
          <p:cNvPr id="12" name="Freeform 12"/>
          <p:cNvSpPr/>
          <p:nvPr/>
        </p:nvSpPr>
        <p:spPr>
          <a:xfrm>
            <a:off x="1201148" y="8568535"/>
            <a:ext cx="3031933" cy="1379529"/>
          </a:xfrm>
          <a:custGeom>
            <a:avLst/>
            <a:gdLst/>
            <a:ahLst/>
            <a:cxnLst/>
            <a:rect l="l" t="t" r="r" b="b"/>
            <a:pathLst>
              <a:path w="3031933" h="1379529">
                <a:moveTo>
                  <a:pt x="0" y="0"/>
                </a:moveTo>
                <a:lnTo>
                  <a:pt x="3031933" y="0"/>
                </a:lnTo>
                <a:lnTo>
                  <a:pt x="3031933" y="1379530"/>
                </a:lnTo>
                <a:lnTo>
                  <a:pt x="0" y="137953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3" name="Group 13"/>
          <p:cNvGrpSpPr/>
          <p:nvPr/>
        </p:nvGrpSpPr>
        <p:grpSpPr>
          <a:xfrm>
            <a:off x="4416183" y="8568535"/>
            <a:ext cx="129075" cy="1379529"/>
            <a:chOff x="0" y="0"/>
            <a:chExt cx="33995" cy="363333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33995" cy="363333"/>
            </a:xfrm>
            <a:custGeom>
              <a:avLst/>
              <a:gdLst/>
              <a:ahLst/>
              <a:cxnLst/>
              <a:rect l="l" t="t" r="r" b="b"/>
              <a:pathLst>
                <a:path w="33995" h="363333">
                  <a:moveTo>
                    <a:pt x="0" y="0"/>
                  </a:moveTo>
                  <a:lnTo>
                    <a:pt x="33995" y="0"/>
                  </a:lnTo>
                  <a:lnTo>
                    <a:pt x="33995" y="363333"/>
                  </a:lnTo>
                  <a:lnTo>
                    <a:pt x="0" y="363333"/>
                  </a:lnTo>
                  <a:close/>
                </a:path>
              </a:pathLst>
            </a:custGeom>
            <a:solidFill>
              <a:srgbClr val="3B599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0" y="-38100"/>
              <a:ext cx="33995" cy="401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6" name="Group 16"/>
          <p:cNvGrpSpPr>
            <a:grpSpLocks noGrp="1" noUngrp="1" noRot="1" noMove="1" noResize="1"/>
          </p:cNvGrpSpPr>
          <p:nvPr/>
        </p:nvGrpSpPr>
        <p:grpSpPr>
          <a:xfrm>
            <a:off x="10295448" y="-1820352"/>
            <a:ext cx="13927705" cy="13927705"/>
            <a:chOff x="0" y="0"/>
            <a:chExt cx="812800" cy="812800"/>
          </a:xfrm>
        </p:grpSpPr>
        <p:sp>
          <p:nvSpPr>
            <p:cNvPr id="17" name="Freeform 17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293E6B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TextBox 18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9" name="Group 19"/>
          <p:cNvGrpSpPr>
            <a:grpSpLocks noGrp="1" noUngrp="1" noRot="1" noMove="1" noResize="1"/>
          </p:cNvGrpSpPr>
          <p:nvPr/>
        </p:nvGrpSpPr>
        <p:grpSpPr>
          <a:xfrm>
            <a:off x="10754753" y="-1820352"/>
            <a:ext cx="13927705" cy="13927705"/>
            <a:chOff x="0" y="0"/>
            <a:chExt cx="812800" cy="812800"/>
          </a:xfrm>
        </p:grpSpPr>
        <p:sp>
          <p:nvSpPr>
            <p:cNvPr id="20" name="Freeform 20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/>
            </a:solid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TextBox 21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sp>
        <p:nvSpPr>
          <p:cNvPr id="22" name="Freeform 2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134600" y="1028700"/>
            <a:ext cx="8265277" cy="8475027"/>
          </a:xfrm>
          <a:custGeom>
            <a:avLst/>
            <a:gdLst/>
            <a:ahLst/>
            <a:cxnLst/>
            <a:rect l="l" t="t" r="r" b="b"/>
            <a:pathLst>
              <a:path w="8265277" h="8475027">
                <a:moveTo>
                  <a:pt x="0" y="0"/>
                </a:moveTo>
                <a:lnTo>
                  <a:pt x="8265278" y="0"/>
                </a:lnTo>
                <a:lnTo>
                  <a:pt x="8265278" y="8475027"/>
                </a:lnTo>
                <a:lnTo>
                  <a:pt x="0" y="8475027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22536" r="-31365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754042" y="8396014"/>
            <a:ext cx="3159392" cy="3104102"/>
          </a:xfrm>
          <a:custGeom>
            <a:avLst/>
            <a:gdLst/>
            <a:ahLst/>
            <a:cxnLst/>
            <a:rect l="l" t="t" r="r" b="b"/>
            <a:pathLst>
              <a:path w="3159392" h="3104102">
                <a:moveTo>
                  <a:pt x="0" y="0"/>
                </a:moveTo>
                <a:lnTo>
                  <a:pt x="3159392" y="0"/>
                </a:lnTo>
                <a:lnTo>
                  <a:pt x="3159392" y="3104102"/>
                </a:lnTo>
                <a:lnTo>
                  <a:pt x="0" y="31041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4" name="Freeform 24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528991" y="8039669"/>
            <a:ext cx="3141835" cy="3086852"/>
          </a:xfrm>
          <a:custGeom>
            <a:avLst/>
            <a:gdLst/>
            <a:ahLst/>
            <a:cxnLst/>
            <a:rect l="l" t="t" r="r" b="b"/>
            <a:pathLst>
              <a:path w="3141835" h="3086852">
                <a:moveTo>
                  <a:pt x="0" y="0"/>
                </a:moveTo>
                <a:lnTo>
                  <a:pt x="3141835" y="0"/>
                </a:lnTo>
                <a:lnTo>
                  <a:pt x="3141835" y="3086853"/>
                </a:lnTo>
                <a:lnTo>
                  <a:pt x="0" y="3086853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5" name="Freeform 25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513453" y="7065500"/>
            <a:ext cx="3059615" cy="3006071"/>
          </a:xfrm>
          <a:custGeom>
            <a:avLst/>
            <a:gdLst/>
            <a:ahLst/>
            <a:cxnLst/>
            <a:rect l="l" t="t" r="r" b="b"/>
            <a:pathLst>
              <a:path w="3059615" h="3006071">
                <a:moveTo>
                  <a:pt x="0" y="0"/>
                </a:moveTo>
                <a:lnTo>
                  <a:pt x="3059614" y="0"/>
                </a:lnTo>
                <a:lnTo>
                  <a:pt x="3059614" y="3006071"/>
                </a:lnTo>
                <a:lnTo>
                  <a:pt x="0" y="300607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Freeform 26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5638578" y="-33917"/>
            <a:ext cx="3014933" cy="2962171"/>
          </a:xfrm>
          <a:custGeom>
            <a:avLst/>
            <a:gdLst/>
            <a:ahLst/>
            <a:cxnLst/>
            <a:rect l="l" t="t" r="r" b="b"/>
            <a:pathLst>
              <a:path w="3014933" h="2962171">
                <a:moveTo>
                  <a:pt x="0" y="0"/>
                </a:moveTo>
                <a:lnTo>
                  <a:pt x="3014933" y="0"/>
                </a:lnTo>
                <a:lnTo>
                  <a:pt x="3014933" y="2962171"/>
                </a:lnTo>
                <a:lnTo>
                  <a:pt x="0" y="296217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7" name="Freeform 27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3540226" y="-239313"/>
            <a:ext cx="3014933" cy="2962171"/>
          </a:xfrm>
          <a:custGeom>
            <a:avLst/>
            <a:gdLst/>
            <a:ahLst/>
            <a:cxnLst/>
            <a:rect l="l" t="t" r="r" b="b"/>
            <a:pathLst>
              <a:path w="3014933" h="2962171">
                <a:moveTo>
                  <a:pt x="0" y="0"/>
                </a:moveTo>
                <a:lnTo>
                  <a:pt x="3014933" y="0"/>
                </a:lnTo>
                <a:lnTo>
                  <a:pt x="3014933" y="2962171"/>
                </a:lnTo>
                <a:lnTo>
                  <a:pt x="0" y="296217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8" name="Freeform 28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558134" y="-156978"/>
            <a:ext cx="3014933" cy="2962171"/>
          </a:xfrm>
          <a:custGeom>
            <a:avLst/>
            <a:gdLst/>
            <a:ahLst/>
            <a:cxnLst/>
            <a:rect l="l" t="t" r="r" b="b"/>
            <a:pathLst>
              <a:path w="3014933" h="2962171">
                <a:moveTo>
                  <a:pt x="0" y="0"/>
                </a:moveTo>
                <a:lnTo>
                  <a:pt x="3014933" y="0"/>
                </a:lnTo>
                <a:lnTo>
                  <a:pt x="3014933" y="2962171"/>
                </a:lnTo>
                <a:lnTo>
                  <a:pt x="0" y="296217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reeform 29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6040870" y="7608748"/>
            <a:ext cx="2436861" cy="2394216"/>
          </a:xfrm>
          <a:custGeom>
            <a:avLst/>
            <a:gdLst/>
            <a:ahLst/>
            <a:cxnLst/>
            <a:rect l="l" t="t" r="r" b="b"/>
            <a:pathLst>
              <a:path w="2436861" h="2394216">
                <a:moveTo>
                  <a:pt x="0" y="0"/>
                </a:moveTo>
                <a:lnTo>
                  <a:pt x="2436860" y="0"/>
                </a:lnTo>
                <a:lnTo>
                  <a:pt x="2436860" y="2394216"/>
                </a:lnTo>
                <a:lnTo>
                  <a:pt x="0" y="2394216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0" name="Freeform 30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498448" y="1911005"/>
            <a:ext cx="1684380" cy="2384448"/>
          </a:xfrm>
          <a:custGeom>
            <a:avLst/>
            <a:gdLst/>
            <a:ahLst/>
            <a:cxnLst/>
            <a:rect l="l" t="t" r="r" b="b"/>
            <a:pathLst>
              <a:path w="1684380" h="2384448">
                <a:moveTo>
                  <a:pt x="0" y="0"/>
                </a:moveTo>
                <a:lnTo>
                  <a:pt x="1684381" y="0"/>
                </a:lnTo>
                <a:lnTo>
                  <a:pt x="1684381" y="2384449"/>
                </a:lnTo>
                <a:lnTo>
                  <a:pt x="0" y="23844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r="-4408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259453" y="3489720"/>
            <a:ext cx="1684380" cy="2384448"/>
          </a:xfrm>
          <a:custGeom>
            <a:avLst/>
            <a:gdLst/>
            <a:ahLst/>
            <a:cxnLst/>
            <a:rect l="l" t="t" r="r" b="b"/>
            <a:pathLst>
              <a:path w="1684380" h="2384448">
                <a:moveTo>
                  <a:pt x="0" y="0"/>
                </a:moveTo>
                <a:lnTo>
                  <a:pt x="1684381" y="0"/>
                </a:lnTo>
                <a:lnTo>
                  <a:pt x="1684381" y="2384449"/>
                </a:lnTo>
                <a:lnTo>
                  <a:pt x="0" y="23844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r="-4408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295448" y="4718751"/>
            <a:ext cx="1684380" cy="2384448"/>
          </a:xfrm>
          <a:custGeom>
            <a:avLst/>
            <a:gdLst/>
            <a:ahLst/>
            <a:cxnLst/>
            <a:rect l="l" t="t" r="r" b="b"/>
            <a:pathLst>
              <a:path w="1684380" h="2384448">
                <a:moveTo>
                  <a:pt x="0" y="0"/>
                </a:moveTo>
                <a:lnTo>
                  <a:pt x="1684380" y="0"/>
                </a:lnTo>
                <a:lnTo>
                  <a:pt x="1684380" y="2384449"/>
                </a:lnTo>
                <a:lnTo>
                  <a:pt x="0" y="23844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r="-4408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498448" y="5910975"/>
            <a:ext cx="1684380" cy="2384448"/>
          </a:xfrm>
          <a:custGeom>
            <a:avLst/>
            <a:gdLst/>
            <a:ahLst/>
            <a:cxnLst/>
            <a:rect l="l" t="t" r="r" b="b"/>
            <a:pathLst>
              <a:path w="1684380" h="2384448">
                <a:moveTo>
                  <a:pt x="0" y="0"/>
                </a:moveTo>
                <a:lnTo>
                  <a:pt x="1684381" y="0"/>
                </a:lnTo>
                <a:lnTo>
                  <a:pt x="1684381" y="2384449"/>
                </a:lnTo>
                <a:lnTo>
                  <a:pt x="0" y="23844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r="-4408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Freeform 34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998089" y="6559969"/>
            <a:ext cx="1684380" cy="2384448"/>
          </a:xfrm>
          <a:custGeom>
            <a:avLst/>
            <a:gdLst/>
            <a:ahLst/>
            <a:cxnLst/>
            <a:rect l="l" t="t" r="r" b="b"/>
            <a:pathLst>
              <a:path w="1684380" h="2384448">
                <a:moveTo>
                  <a:pt x="0" y="0"/>
                </a:moveTo>
                <a:lnTo>
                  <a:pt x="1684380" y="0"/>
                </a:lnTo>
                <a:lnTo>
                  <a:pt x="1684380" y="2384448"/>
                </a:lnTo>
                <a:lnTo>
                  <a:pt x="0" y="238444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alphaModFix amt="85000"/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r="-4408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5" name="TextBox 35"/>
          <p:cNvSpPr txBox="1"/>
          <p:nvPr/>
        </p:nvSpPr>
        <p:spPr>
          <a:xfrm>
            <a:off x="982431" y="2879836"/>
            <a:ext cx="7947344" cy="8115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6719"/>
              </a:lnSpc>
            </a:pPr>
            <a:r>
              <a:rPr lang="en-US" sz="5400" b="1" dirty="0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Montserrat Bold"/>
              </a:rPr>
              <a:t>WIDS DATATHON TEAM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982431" y="3804204"/>
            <a:ext cx="8564264" cy="2503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6719"/>
              </a:lnSpc>
            </a:pPr>
            <a:r>
              <a:rPr lang="en-US" sz="44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Montserrat Bold"/>
              </a:rPr>
              <a:t>UNRAVELING THE MYSTERIES OF THE FEMALE BRAIN </a:t>
            </a:r>
          </a:p>
          <a:p>
            <a:pPr algn="l">
              <a:lnSpc>
                <a:spcPts val="6719"/>
              </a:lnSpc>
            </a:pPr>
            <a:r>
              <a:rPr lang="en-US" sz="4400" b="1" dirty="0">
                <a:solidFill>
                  <a:srgbClr val="293E6B"/>
                </a:solidFill>
                <a:latin typeface="Roboto"/>
                <a:ea typeface="Roboto"/>
                <a:cs typeface="Roboto"/>
                <a:sym typeface="Montserrat Bold"/>
              </a:rPr>
              <a:t>Final Team Presentation</a:t>
            </a:r>
            <a:endParaRPr lang="en-US" sz="4400" b="1" dirty="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TextBox 37"/>
          <p:cNvSpPr txBox="1"/>
          <p:nvPr/>
        </p:nvSpPr>
        <p:spPr>
          <a:xfrm>
            <a:off x="1028700" y="1214408"/>
            <a:ext cx="6691793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779"/>
              </a:lnSpc>
            </a:pPr>
            <a:r>
              <a:rPr lang="en-US" sz="3200" b="1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Montserrat Bold"/>
              </a:rPr>
              <a:t>CAP6942 – CAPSTONE PROJECT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4726233" y="8767756"/>
            <a:ext cx="3861530" cy="8390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359"/>
              </a:lnSpc>
            </a:pPr>
            <a:r>
              <a:rPr lang="en-US" sz="2400" b="1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Montserrat Bold"/>
              </a:rPr>
              <a:t>WiDS Datathon 2025</a:t>
            </a:r>
          </a:p>
          <a:p>
            <a:pPr algn="l">
              <a:lnSpc>
                <a:spcPts val="3359"/>
              </a:lnSpc>
            </a:pPr>
            <a:r>
              <a:rPr lang="en-US" sz="2400" b="1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Montserrat Bold"/>
              </a:rPr>
              <a:t>#WiDSDatathon</a:t>
            </a:r>
          </a:p>
        </p:txBody>
      </p:sp>
      <p:sp>
        <p:nvSpPr>
          <p:cNvPr id="39" name="TextBox 37">
            <a:extLst>
              <a:ext uri="{FF2B5EF4-FFF2-40B4-BE49-F238E27FC236}">
                <a16:creationId xmlns:a16="http://schemas.microsoft.com/office/drawing/2014/main" id="{398D2941-CC6A-7EE6-5BB3-E1DAB57B3DCB}"/>
              </a:ext>
            </a:extLst>
          </p:cNvPr>
          <p:cNvSpPr txBox="1"/>
          <p:nvPr/>
        </p:nvSpPr>
        <p:spPr>
          <a:xfrm>
            <a:off x="1023601" y="6418563"/>
            <a:ext cx="7584248" cy="9425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779"/>
              </a:lnSpc>
            </a:pPr>
            <a:r>
              <a:rPr lang="en-US" sz="2700" b="1">
                <a:solidFill>
                  <a:srgbClr val="293E6B"/>
                </a:solidFill>
                <a:latin typeface="Roboto"/>
                <a:ea typeface="Roboto"/>
                <a:cs typeface="Roboto"/>
                <a:sym typeface="Montserrat Bold"/>
              </a:rPr>
              <a:t>Team members:</a:t>
            </a:r>
          </a:p>
          <a:p>
            <a:pPr>
              <a:lnSpc>
                <a:spcPts val="3779"/>
              </a:lnSpc>
            </a:pPr>
            <a:r>
              <a:rPr lang="en-US" sz="2800" b="0" i="0" u="none" strike="noStrike" cap="none">
                <a:latin typeface="Roboto"/>
                <a:ea typeface="Roboto"/>
                <a:cs typeface="Roboto"/>
                <a:sym typeface="Open Sans"/>
              </a:rPr>
              <a:t>Rosali Gonzalez, Hieu Chu, </a:t>
            </a:r>
            <a:r>
              <a:rPr lang="en-US" sz="2800">
                <a:latin typeface="Roboto"/>
                <a:ea typeface="Roboto"/>
                <a:cs typeface="Roboto"/>
                <a:sym typeface="Open Sans"/>
              </a:rPr>
              <a:t>Wen </a:t>
            </a:r>
            <a:r>
              <a:rPr lang="en-US" sz="2800" err="1">
                <a:latin typeface="Roboto"/>
                <a:ea typeface="Roboto"/>
                <a:cs typeface="Roboto"/>
                <a:sym typeface="Open Sans"/>
              </a:rPr>
              <a:t>fong</a:t>
            </a:r>
            <a:r>
              <a:rPr lang="en-US" sz="2800" b="0" i="0" u="none" strike="noStrike" cap="none">
                <a:latin typeface="Roboto"/>
                <a:ea typeface="Roboto"/>
                <a:cs typeface="Roboto"/>
                <a:sym typeface="Open Sans"/>
              </a:rPr>
              <a:t> Wang</a:t>
            </a:r>
            <a:endParaRPr lang="en-US" sz="1800" b="0" i="0" u="none" strike="noStrike" cap="none">
              <a:latin typeface="Roboto"/>
              <a:ea typeface="Roboto"/>
              <a:cs typeface="Roboto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B105F-EB9D-2060-9F6B-340A7A28F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D8DCAA-F2F4-5BF0-AEC6-AA29F0AF6E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D8DCAA-F2F4-5BF0-AEC6-AA29F0AF6E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B5918406-D9D9-F934-621A-2A7820D98A3A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E82E8DAC-0A70-AC4C-0655-4C9D1F05E284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7D9D73CB-8484-E384-CD12-646BB98824BF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0DC6D-51CB-1553-9771-743F2E739D8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E8422480-1E1F-D993-5FB9-B123F4E6B1F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B6752A24-A7FF-3B66-0364-A2DD296E66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Goals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48DA3DC-A3A4-DCD6-1A8C-5C1EC272CC6C}"/>
              </a:ext>
            </a:extLst>
          </p:cNvPr>
          <p:cNvGrpSpPr/>
          <p:nvPr/>
        </p:nvGrpSpPr>
        <p:grpSpPr>
          <a:xfrm>
            <a:off x="1867647" y="3733765"/>
            <a:ext cx="14552705" cy="5443624"/>
            <a:chOff x="2480236" y="3515388"/>
            <a:chExt cx="14552705" cy="544362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CF3BD34-E495-72B2-36B6-E5D9448D2E7D}"/>
                </a:ext>
              </a:extLst>
            </p:cNvPr>
            <p:cNvGrpSpPr/>
            <p:nvPr/>
          </p:nvGrpSpPr>
          <p:grpSpPr>
            <a:xfrm>
              <a:off x="7013884" y="3792177"/>
              <a:ext cx="4484009" cy="5166835"/>
              <a:chOff x="2970245" y="1722234"/>
              <a:chExt cx="3965510" cy="4569378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6C5F1527-2D56-8D81-3E15-02F596250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753" y="4798306"/>
                <a:ext cx="1708606" cy="1493306"/>
              </a:xfrm>
              <a:custGeom>
                <a:avLst/>
                <a:gdLst>
                  <a:gd name="T0" fmla="*/ 320 w 321"/>
                  <a:gd name="T1" fmla="*/ 72 h 265"/>
                  <a:gd name="T2" fmla="*/ 267 w 321"/>
                  <a:gd name="T3" fmla="*/ 146 h 265"/>
                  <a:gd name="T4" fmla="*/ 260 w 321"/>
                  <a:gd name="T5" fmla="*/ 155 h 265"/>
                  <a:gd name="T6" fmla="*/ 115 w 321"/>
                  <a:gd name="T7" fmla="*/ 265 h 265"/>
                  <a:gd name="T8" fmla="*/ 0 w 321"/>
                  <a:gd name="T9" fmla="*/ 232 h 265"/>
                  <a:gd name="T10" fmla="*/ 0 w 321"/>
                  <a:gd name="T11" fmla="*/ 108 h 265"/>
                  <a:gd name="T12" fmla="*/ 119 w 321"/>
                  <a:gd name="T13" fmla="*/ 108 h 265"/>
                  <a:gd name="T14" fmla="*/ 180 w 321"/>
                  <a:gd name="T15" fmla="*/ 169 h 265"/>
                  <a:gd name="T16" fmla="*/ 180 w 321"/>
                  <a:gd name="T17" fmla="*/ 172 h 265"/>
                  <a:gd name="T18" fmla="*/ 190 w 321"/>
                  <a:gd name="T19" fmla="*/ 182 h 265"/>
                  <a:gd name="T20" fmla="*/ 200 w 321"/>
                  <a:gd name="T21" fmla="*/ 172 h 265"/>
                  <a:gd name="T22" fmla="*/ 200 w 321"/>
                  <a:gd name="T23" fmla="*/ 169 h 265"/>
                  <a:gd name="T24" fmla="*/ 119 w 321"/>
                  <a:gd name="T25" fmla="*/ 88 h 265"/>
                  <a:gd name="T26" fmla="*/ 86 w 321"/>
                  <a:gd name="T27" fmla="*/ 88 h 265"/>
                  <a:gd name="T28" fmla="*/ 86 w 321"/>
                  <a:gd name="T29" fmla="*/ 61 h 265"/>
                  <a:gd name="T30" fmla="*/ 103 w 321"/>
                  <a:gd name="T31" fmla="*/ 20 h 265"/>
                  <a:gd name="T32" fmla="*/ 145 w 321"/>
                  <a:gd name="T33" fmla="*/ 2 h 265"/>
                  <a:gd name="T34" fmla="*/ 145 w 321"/>
                  <a:gd name="T35" fmla="*/ 2 h 265"/>
                  <a:gd name="T36" fmla="*/ 232 w 321"/>
                  <a:gd name="T37" fmla="*/ 1 h 265"/>
                  <a:gd name="T38" fmla="*/ 305 w 321"/>
                  <a:gd name="T39" fmla="*/ 15 h 265"/>
                  <a:gd name="T40" fmla="*/ 313 w 321"/>
                  <a:gd name="T41" fmla="*/ 26 h 265"/>
                  <a:gd name="T42" fmla="*/ 320 w 321"/>
                  <a:gd name="T43" fmla="*/ 7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21" h="265">
                    <a:moveTo>
                      <a:pt x="320" y="72"/>
                    </a:moveTo>
                    <a:cubicBezTo>
                      <a:pt x="321" y="129"/>
                      <a:pt x="269" y="146"/>
                      <a:pt x="267" y="146"/>
                    </a:cubicBezTo>
                    <a:cubicBezTo>
                      <a:pt x="263" y="148"/>
                      <a:pt x="261" y="151"/>
                      <a:pt x="260" y="155"/>
                    </a:cubicBezTo>
                    <a:cubicBezTo>
                      <a:pt x="254" y="210"/>
                      <a:pt x="206" y="265"/>
                      <a:pt x="115" y="265"/>
                    </a:cubicBezTo>
                    <a:cubicBezTo>
                      <a:pt x="40" y="265"/>
                      <a:pt x="8" y="239"/>
                      <a:pt x="0" y="232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53" y="108"/>
                      <a:pt x="180" y="135"/>
                      <a:pt x="180" y="169"/>
                    </a:cubicBezTo>
                    <a:cubicBezTo>
                      <a:pt x="180" y="172"/>
                      <a:pt x="180" y="172"/>
                      <a:pt x="180" y="172"/>
                    </a:cubicBezTo>
                    <a:cubicBezTo>
                      <a:pt x="180" y="177"/>
                      <a:pt x="185" y="182"/>
                      <a:pt x="190" y="182"/>
                    </a:cubicBezTo>
                    <a:cubicBezTo>
                      <a:pt x="196" y="182"/>
                      <a:pt x="200" y="177"/>
                      <a:pt x="200" y="172"/>
                    </a:cubicBezTo>
                    <a:cubicBezTo>
                      <a:pt x="200" y="169"/>
                      <a:pt x="200" y="169"/>
                      <a:pt x="200" y="169"/>
                    </a:cubicBezTo>
                    <a:cubicBezTo>
                      <a:pt x="200" y="124"/>
                      <a:pt x="164" y="88"/>
                      <a:pt x="119" y="88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86" y="61"/>
                      <a:pt x="86" y="61"/>
                      <a:pt x="86" y="61"/>
                    </a:cubicBezTo>
                    <a:cubicBezTo>
                      <a:pt x="86" y="46"/>
                      <a:pt x="92" y="31"/>
                      <a:pt x="103" y="20"/>
                    </a:cubicBezTo>
                    <a:cubicBezTo>
                      <a:pt x="115" y="8"/>
                      <a:pt x="129" y="2"/>
                      <a:pt x="145" y="2"/>
                    </a:cubicBezTo>
                    <a:cubicBezTo>
                      <a:pt x="145" y="2"/>
                      <a:pt x="145" y="2"/>
                      <a:pt x="145" y="2"/>
                    </a:cubicBezTo>
                    <a:cubicBezTo>
                      <a:pt x="177" y="2"/>
                      <a:pt x="206" y="2"/>
                      <a:pt x="232" y="1"/>
                    </a:cubicBezTo>
                    <a:cubicBezTo>
                      <a:pt x="272" y="0"/>
                      <a:pt x="293" y="4"/>
                      <a:pt x="305" y="15"/>
                    </a:cubicBezTo>
                    <a:cubicBezTo>
                      <a:pt x="306" y="16"/>
                      <a:pt x="311" y="23"/>
                      <a:pt x="313" y="26"/>
                    </a:cubicBezTo>
                    <a:cubicBezTo>
                      <a:pt x="317" y="36"/>
                      <a:pt x="320" y="51"/>
                      <a:pt x="320" y="72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2" name="Freeform 6">
                <a:extLst>
                  <a:ext uri="{FF2B5EF4-FFF2-40B4-BE49-F238E27FC236}">
                    <a16:creationId xmlns:a16="http://schemas.microsoft.com/office/drawing/2014/main" id="{7959A723-543B-9807-C6FF-E42E47B5E0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753" y="3439192"/>
                <a:ext cx="1906002" cy="1854589"/>
              </a:xfrm>
              <a:custGeom>
                <a:avLst/>
                <a:gdLst>
                  <a:gd name="T0" fmla="*/ 323 w 358"/>
                  <a:gd name="T1" fmla="*/ 246 h 329"/>
                  <a:gd name="T2" fmla="*/ 319 w 358"/>
                  <a:gd name="T3" fmla="*/ 242 h 329"/>
                  <a:gd name="T4" fmla="*/ 232 w 358"/>
                  <a:gd name="T5" fmla="*/ 222 h 329"/>
                  <a:gd name="T6" fmla="*/ 145 w 358"/>
                  <a:gd name="T7" fmla="*/ 223 h 329"/>
                  <a:gd name="T8" fmla="*/ 145 w 358"/>
                  <a:gd name="T9" fmla="*/ 223 h 329"/>
                  <a:gd name="T10" fmla="*/ 89 w 358"/>
                  <a:gd name="T11" fmla="*/ 246 h 329"/>
                  <a:gd name="T12" fmla="*/ 66 w 358"/>
                  <a:gd name="T13" fmla="*/ 302 h 329"/>
                  <a:gd name="T14" fmla="*/ 66 w 358"/>
                  <a:gd name="T15" fmla="*/ 329 h 329"/>
                  <a:gd name="T16" fmla="*/ 0 w 358"/>
                  <a:gd name="T17" fmla="*/ 329 h 329"/>
                  <a:gd name="T18" fmla="*/ 0 w 358"/>
                  <a:gd name="T19" fmla="*/ 95 h 329"/>
                  <a:gd name="T20" fmla="*/ 121 w 358"/>
                  <a:gd name="T21" fmla="*/ 95 h 329"/>
                  <a:gd name="T22" fmla="*/ 121 w 358"/>
                  <a:gd name="T23" fmla="*/ 123 h 329"/>
                  <a:gd name="T24" fmla="*/ 115 w 358"/>
                  <a:gd name="T25" fmla="*/ 123 h 329"/>
                  <a:gd name="T26" fmla="*/ 60 w 358"/>
                  <a:gd name="T27" fmla="*/ 178 h 329"/>
                  <a:gd name="T28" fmla="*/ 60 w 358"/>
                  <a:gd name="T29" fmla="*/ 192 h 329"/>
                  <a:gd name="T30" fmla="*/ 70 w 358"/>
                  <a:gd name="T31" fmla="*/ 202 h 329"/>
                  <a:gd name="T32" fmla="*/ 80 w 358"/>
                  <a:gd name="T33" fmla="*/ 192 h 329"/>
                  <a:gd name="T34" fmla="*/ 80 w 358"/>
                  <a:gd name="T35" fmla="*/ 178 h 329"/>
                  <a:gd name="T36" fmla="*/ 115 w 358"/>
                  <a:gd name="T37" fmla="*/ 142 h 329"/>
                  <a:gd name="T38" fmla="*/ 148 w 358"/>
                  <a:gd name="T39" fmla="*/ 142 h 329"/>
                  <a:gd name="T40" fmla="*/ 183 w 358"/>
                  <a:gd name="T41" fmla="*/ 177 h 329"/>
                  <a:gd name="T42" fmla="*/ 183 w 358"/>
                  <a:gd name="T43" fmla="*/ 187 h 329"/>
                  <a:gd name="T44" fmla="*/ 193 w 358"/>
                  <a:gd name="T45" fmla="*/ 197 h 329"/>
                  <a:gd name="T46" fmla="*/ 202 w 358"/>
                  <a:gd name="T47" fmla="*/ 187 h 329"/>
                  <a:gd name="T48" fmla="*/ 202 w 358"/>
                  <a:gd name="T49" fmla="*/ 177 h 329"/>
                  <a:gd name="T50" fmla="*/ 148 w 358"/>
                  <a:gd name="T51" fmla="*/ 123 h 329"/>
                  <a:gd name="T52" fmla="*/ 141 w 358"/>
                  <a:gd name="T53" fmla="*/ 123 h 329"/>
                  <a:gd name="T54" fmla="*/ 141 w 358"/>
                  <a:gd name="T55" fmla="*/ 76 h 329"/>
                  <a:gd name="T56" fmla="*/ 215 w 358"/>
                  <a:gd name="T57" fmla="*/ 2 h 329"/>
                  <a:gd name="T58" fmla="*/ 299 w 358"/>
                  <a:gd name="T59" fmla="*/ 2 h 329"/>
                  <a:gd name="T60" fmla="*/ 300 w 358"/>
                  <a:gd name="T61" fmla="*/ 2 h 329"/>
                  <a:gd name="T62" fmla="*/ 337 w 358"/>
                  <a:gd name="T63" fmla="*/ 15 h 329"/>
                  <a:gd name="T64" fmla="*/ 357 w 358"/>
                  <a:gd name="T65" fmla="*/ 76 h 329"/>
                  <a:gd name="T66" fmla="*/ 357 w 358"/>
                  <a:gd name="T67" fmla="*/ 176 h 329"/>
                  <a:gd name="T68" fmla="*/ 323 w 358"/>
                  <a:gd name="T69" fmla="*/ 246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58" h="329">
                    <a:moveTo>
                      <a:pt x="323" y="246"/>
                    </a:moveTo>
                    <a:cubicBezTo>
                      <a:pt x="321" y="244"/>
                      <a:pt x="320" y="243"/>
                      <a:pt x="319" y="242"/>
                    </a:cubicBezTo>
                    <a:cubicBezTo>
                      <a:pt x="303" y="226"/>
                      <a:pt x="278" y="221"/>
                      <a:pt x="232" y="222"/>
                    </a:cubicBezTo>
                    <a:cubicBezTo>
                      <a:pt x="206" y="223"/>
                      <a:pt x="177" y="224"/>
                      <a:pt x="145" y="223"/>
                    </a:cubicBezTo>
                    <a:cubicBezTo>
                      <a:pt x="145" y="223"/>
                      <a:pt x="145" y="223"/>
                      <a:pt x="145" y="223"/>
                    </a:cubicBezTo>
                    <a:cubicBezTo>
                      <a:pt x="124" y="223"/>
                      <a:pt x="104" y="232"/>
                      <a:pt x="89" y="246"/>
                    </a:cubicBezTo>
                    <a:cubicBezTo>
                      <a:pt x="74" y="261"/>
                      <a:pt x="66" y="281"/>
                      <a:pt x="66" y="302"/>
                    </a:cubicBezTo>
                    <a:cubicBezTo>
                      <a:pt x="66" y="329"/>
                      <a:pt x="66" y="329"/>
                      <a:pt x="66" y="329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23"/>
                      <a:pt x="121" y="123"/>
                      <a:pt x="121" y="123"/>
                    </a:cubicBezTo>
                    <a:cubicBezTo>
                      <a:pt x="115" y="123"/>
                      <a:pt x="115" y="123"/>
                      <a:pt x="115" y="123"/>
                    </a:cubicBezTo>
                    <a:cubicBezTo>
                      <a:pt x="85" y="123"/>
                      <a:pt x="60" y="147"/>
                      <a:pt x="60" y="178"/>
                    </a:cubicBezTo>
                    <a:cubicBezTo>
                      <a:pt x="60" y="192"/>
                      <a:pt x="60" y="192"/>
                      <a:pt x="60" y="192"/>
                    </a:cubicBezTo>
                    <a:cubicBezTo>
                      <a:pt x="60" y="198"/>
                      <a:pt x="65" y="202"/>
                      <a:pt x="70" y="202"/>
                    </a:cubicBezTo>
                    <a:cubicBezTo>
                      <a:pt x="75" y="202"/>
                      <a:pt x="80" y="198"/>
                      <a:pt x="80" y="192"/>
                    </a:cubicBezTo>
                    <a:cubicBezTo>
                      <a:pt x="80" y="178"/>
                      <a:pt x="80" y="178"/>
                      <a:pt x="80" y="178"/>
                    </a:cubicBezTo>
                    <a:cubicBezTo>
                      <a:pt x="80" y="158"/>
                      <a:pt x="96" y="142"/>
                      <a:pt x="115" y="142"/>
                    </a:cubicBezTo>
                    <a:cubicBezTo>
                      <a:pt x="148" y="142"/>
                      <a:pt x="148" y="142"/>
                      <a:pt x="148" y="142"/>
                    </a:cubicBezTo>
                    <a:cubicBezTo>
                      <a:pt x="167" y="142"/>
                      <a:pt x="183" y="158"/>
                      <a:pt x="183" y="177"/>
                    </a:cubicBezTo>
                    <a:cubicBezTo>
                      <a:pt x="183" y="187"/>
                      <a:pt x="183" y="187"/>
                      <a:pt x="183" y="187"/>
                    </a:cubicBezTo>
                    <a:cubicBezTo>
                      <a:pt x="183" y="192"/>
                      <a:pt x="187" y="197"/>
                      <a:pt x="193" y="197"/>
                    </a:cubicBezTo>
                    <a:cubicBezTo>
                      <a:pt x="198" y="197"/>
                      <a:pt x="202" y="192"/>
                      <a:pt x="202" y="187"/>
                    </a:cubicBezTo>
                    <a:cubicBezTo>
                      <a:pt x="202" y="177"/>
                      <a:pt x="202" y="177"/>
                      <a:pt x="202" y="177"/>
                    </a:cubicBezTo>
                    <a:cubicBezTo>
                      <a:pt x="202" y="147"/>
                      <a:pt x="178" y="123"/>
                      <a:pt x="148" y="123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41" y="76"/>
                      <a:pt x="141" y="76"/>
                      <a:pt x="141" y="76"/>
                    </a:cubicBezTo>
                    <a:cubicBezTo>
                      <a:pt x="141" y="35"/>
                      <a:pt x="174" y="2"/>
                      <a:pt x="215" y="2"/>
                    </a:cubicBezTo>
                    <a:cubicBezTo>
                      <a:pt x="299" y="2"/>
                      <a:pt x="299" y="2"/>
                      <a:pt x="299" y="2"/>
                    </a:cubicBezTo>
                    <a:cubicBezTo>
                      <a:pt x="299" y="2"/>
                      <a:pt x="299" y="2"/>
                      <a:pt x="300" y="2"/>
                    </a:cubicBezTo>
                    <a:cubicBezTo>
                      <a:pt x="300" y="2"/>
                      <a:pt x="321" y="0"/>
                      <a:pt x="337" y="15"/>
                    </a:cubicBezTo>
                    <a:cubicBezTo>
                      <a:pt x="350" y="28"/>
                      <a:pt x="357" y="48"/>
                      <a:pt x="357" y="76"/>
                    </a:cubicBezTo>
                    <a:cubicBezTo>
                      <a:pt x="357" y="176"/>
                      <a:pt x="357" y="176"/>
                      <a:pt x="357" y="176"/>
                    </a:cubicBezTo>
                    <a:cubicBezTo>
                      <a:pt x="357" y="176"/>
                      <a:pt x="358" y="227"/>
                      <a:pt x="323" y="2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BC06EA8D-6910-C754-CFB7-F5667BEA9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753" y="1722234"/>
                <a:ext cx="1236151" cy="1046002"/>
              </a:xfrm>
              <a:custGeom>
                <a:avLst/>
                <a:gdLst>
                  <a:gd name="T0" fmla="*/ 228 w 232"/>
                  <a:gd name="T1" fmla="*/ 129 h 186"/>
                  <a:gd name="T2" fmla="*/ 128 w 232"/>
                  <a:gd name="T3" fmla="*/ 129 h 186"/>
                  <a:gd name="T4" fmla="*/ 66 w 232"/>
                  <a:gd name="T5" fmla="*/ 73 h 186"/>
                  <a:gd name="T6" fmla="*/ 50 w 232"/>
                  <a:gd name="T7" fmla="*/ 73 h 186"/>
                  <a:gd name="T8" fmla="*/ 40 w 232"/>
                  <a:gd name="T9" fmla="*/ 83 h 186"/>
                  <a:gd name="T10" fmla="*/ 50 w 232"/>
                  <a:gd name="T11" fmla="*/ 93 h 186"/>
                  <a:gd name="T12" fmla="*/ 66 w 232"/>
                  <a:gd name="T13" fmla="*/ 93 h 186"/>
                  <a:gd name="T14" fmla="*/ 109 w 232"/>
                  <a:gd name="T15" fmla="*/ 135 h 186"/>
                  <a:gd name="T16" fmla="*/ 109 w 232"/>
                  <a:gd name="T17" fmla="*/ 145 h 186"/>
                  <a:gd name="T18" fmla="*/ 68 w 232"/>
                  <a:gd name="T19" fmla="*/ 186 h 186"/>
                  <a:gd name="T20" fmla="*/ 0 w 232"/>
                  <a:gd name="T21" fmla="*/ 186 h 186"/>
                  <a:gd name="T22" fmla="*/ 0 w 232"/>
                  <a:gd name="T23" fmla="*/ 73 h 186"/>
                  <a:gd name="T24" fmla="*/ 55 w 232"/>
                  <a:gd name="T25" fmla="*/ 0 h 186"/>
                  <a:gd name="T26" fmla="*/ 154 w 232"/>
                  <a:gd name="T27" fmla="*/ 41 h 186"/>
                  <a:gd name="T28" fmla="*/ 229 w 232"/>
                  <a:gd name="T29" fmla="*/ 115 h 186"/>
                  <a:gd name="T30" fmla="*/ 228 w 232"/>
                  <a:gd name="T3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2" h="186">
                    <a:moveTo>
                      <a:pt x="228" y="129"/>
                    </a:moveTo>
                    <a:cubicBezTo>
                      <a:pt x="128" y="129"/>
                      <a:pt x="128" y="129"/>
                      <a:pt x="128" y="129"/>
                    </a:cubicBezTo>
                    <a:cubicBezTo>
                      <a:pt x="125" y="98"/>
                      <a:pt x="99" y="73"/>
                      <a:pt x="66" y="73"/>
                    </a:cubicBezTo>
                    <a:cubicBezTo>
                      <a:pt x="50" y="73"/>
                      <a:pt x="50" y="73"/>
                      <a:pt x="50" y="73"/>
                    </a:cubicBezTo>
                    <a:cubicBezTo>
                      <a:pt x="44" y="73"/>
                      <a:pt x="40" y="77"/>
                      <a:pt x="40" y="83"/>
                    </a:cubicBezTo>
                    <a:cubicBezTo>
                      <a:pt x="40" y="88"/>
                      <a:pt x="44" y="93"/>
                      <a:pt x="50" y="93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90" y="93"/>
                      <a:pt x="109" y="112"/>
                      <a:pt x="109" y="135"/>
                    </a:cubicBezTo>
                    <a:cubicBezTo>
                      <a:pt x="109" y="145"/>
                      <a:pt x="109" y="145"/>
                      <a:pt x="109" y="145"/>
                    </a:cubicBezTo>
                    <a:cubicBezTo>
                      <a:pt x="109" y="168"/>
                      <a:pt x="90" y="186"/>
                      <a:pt x="68" y="186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70"/>
                      <a:pt x="2" y="0"/>
                      <a:pt x="55" y="0"/>
                    </a:cubicBezTo>
                    <a:cubicBezTo>
                      <a:pt x="77" y="0"/>
                      <a:pt x="116" y="16"/>
                      <a:pt x="154" y="41"/>
                    </a:cubicBezTo>
                    <a:cubicBezTo>
                      <a:pt x="192" y="66"/>
                      <a:pt x="222" y="95"/>
                      <a:pt x="229" y="115"/>
                    </a:cubicBezTo>
                    <a:cubicBezTo>
                      <a:pt x="232" y="122"/>
                      <a:pt x="230" y="127"/>
                      <a:pt x="228" y="1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7EF9A0ED-09FA-E884-BA4D-C0BD6BD78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753" y="2554907"/>
                <a:ext cx="1540334" cy="1314384"/>
              </a:xfrm>
              <a:custGeom>
                <a:avLst/>
                <a:gdLst>
                  <a:gd name="T0" fmla="*/ 289 w 289"/>
                  <a:gd name="T1" fmla="*/ 57 h 233"/>
                  <a:gd name="T2" fmla="*/ 289 w 289"/>
                  <a:gd name="T3" fmla="*/ 139 h 233"/>
                  <a:gd name="T4" fmla="*/ 215 w 289"/>
                  <a:gd name="T5" fmla="*/ 139 h 233"/>
                  <a:gd name="T6" fmla="*/ 121 w 289"/>
                  <a:gd name="T7" fmla="*/ 233 h 233"/>
                  <a:gd name="T8" fmla="*/ 0 w 289"/>
                  <a:gd name="T9" fmla="*/ 233 h 233"/>
                  <a:gd name="T10" fmla="*/ 0 w 289"/>
                  <a:gd name="T11" fmla="*/ 58 h 233"/>
                  <a:gd name="T12" fmla="*/ 68 w 289"/>
                  <a:gd name="T13" fmla="*/ 58 h 233"/>
                  <a:gd name="T14" fmla="*/ 128 w 289"/>
                  <a:gd name="T15" fmla="*/ 1 h 233"/>
                  <a:gd name="T16" fmla="*/ 232 w 289"/>
                  <a:gd name="T17" fmla="*/ 1 h 233"/>
                  <a:gd name="T18" fmla="*/ 233 w 289"/>
                  <a:gd name="T19" fmla="*/ 1 h 233"/>
                  <a:gd name="T20" fmla="*/ 274 w 289"/>
                  <a:gd name="T21" fmla="*/ 15 h 233"/>
                  <a:gd name="T22" fmla="*/ 289 w 289"/>
                  <a:gd name="T23" fmla="*/ 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9" h="233">
                    <a:moveTo>
                      <a:pt x="289" y="57"/>
                    </a:moveTo>
                    <a:cubicBezTo>
                      <a:pt x="289" y="139"/>
                      <a:pt x="289" y="139"/>
                      <a:pt x="289" y="139"/>
                    </a:cubicBezTo>
                    <a:cubicBezTo>
                      <a:pt x="215" y="139"/>
                      <a:pt x="215" y="139"/>
                      <a:pt x="215" y="139"/>
                    </a:cubicBezTo>
                    <a:cubicBezTo>
                      <a:pt x="164" y="139"/>
                      <a:pt x="122" y="181"/>
                      <a:pt x="121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100" y="58"/>
                      <a:pt x="126" y="33"/>
                      <a:pt x="128" y="1"/>
                    </a:cubicBezTo>
                    <a:cubicBezTo>
                      <a:pt x="232" y="1"/>
                      <a:pt x="232" y="1"/>
                      <a:pt x="232" y="1"/>
                    </a:cubicBezTo>
                    <a:cubicBezTo>
                      <a:pt x="232" y="1"/>
                      <a:pt x="233" y="1"/>
                      <a:pt x="233" y="1"/>
                    </a:cubicBezTo>
                    <a:cubicBezTo>
                      <a:pt x="233" y="1"/>
                      <a:pt x="258" y="0"/>
                      <a:pt x="274" y="15"/>
                    </a:cubicBezTo>
                    <a:cubicBezTo>
                      <a:pt x="284" y="25"/>
                      <a:pt x="289" y="39"/>
                      <a:pt x="289" y="57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615BB53F-4CFC-9286-5B48-A0F430E5243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167641" y="4798306"/>
                <a:ext cx="1708606" cy="1493306"/>
              </a:xfrm>
              <a:custGeom>
                <a:avLst/>
                <a:gdLst>
                  <a:gd name="T0" fmla="*/ 320 w 321"/>
                  <a:gd name="T1" fmla="*/ 72 h 265"/>
                  <a:gd name="T2" fmla="*/ 267 w 321"/>
                  <a:gd name="T3" fmla="*/ 146 h 265"/>
                  <a:gd name="T4" fmla="*/ 260 w 321"/>
                  <a:gd name="T5" fmla="*/ 155 h 265"/>
                  <a:gd name="T6" fmla="*/ 115 w 321"/>
                  <a:gd name="T7" fmla="*/ 265 h 265"/>
                  <a:gd name="T8" fmla="*/ 0 w 321"/>
                  <a:gd name="T9" fmla="*/ 232 h 265"/>
                  <a:gd name="T10" fmla="*/ 0 w 321"/>
                  <a:gd name="T11" fmla="*/ 108 h 265"/>
                  <a:gd name="T12" fmla="*/ 119 w 321"/>
                  <a:gd name="T13" fmla="*/ 108 h 265"/>
                  <a:gd name="T14" fmla="*/ 180 w 321"/>
                  <a:gd name="T15" fmla="*/ 169 h 265"/>
                  <a:gd name="T16" fmla="*/ 180 w 321"/>
                  <a:gd name="T17" fmla="*/ 172 h 265"/>
                  <a:gd name="T18" fmla="*/ 190 w 321"/>
                  <a:gd name="T19" fmla="*/ 182 h 265"/>
                  <a:gd name="T20" fmla="*/ 200 w 321"/>
                  <a:gd name="T21" fmla="*/ 172 h 265"/>
                  <a:gd name="T22" fmla="*/ 200 w 321"/>
                  <a:gd name="T23" fmla="*/ 169 h 265"/>
                  <a:gd name="T24" fmla="*/ 119 w 321"/>
                  <a:gd name="T25" fmla="*/ 88 h 265"/>
                  <a:gd name="T26" fmla="*/ 86 w 321"/>
                  <a:gd name="T27" fmla="*/ 88 h 265"/>
                  <a:gd name="T28" fmla="*/ 86 w 321"/>
                  <a:gd name="T29" fmla="*/ 61 h 265"/>
                  <a:gd name="T30" fmla="*/ 103 w 321"/>
                  <a:gd name="T31" fmla="*/ 20 h 265"/>
                  <a:gd name="T32" fmla="*/ 145 w 321"/>
                  <a:gd name="T33" fmla="*/ 2 h 265"/>
                  <a:gd name="T34" fmla="*/ 145 w 321"/>
                  <a:gd name="T35" fmla="*/ 2 h 265"/>
                  <a:gd name="T36" fmla="*/ 232 w 321"/>
                  <a:gd name="T37" fmla="*/ 1 h 265"/>
                  <a:gd name="T38" fmla="*/ 305 w 321"/>
                  <a:gd name="T39" fmla="*/ 15 h 265"/>
                  <a:gd name="T40" fmla="*/ 313 w 321"/>
                  <a:gd name="T41" fmla="*/ 26 h 265"/>
                  <a:gd name="T42" fmla="*/ 320 w 321"/>
                  <a:gd name="T43" fmla="*/ 7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21" h="265">
                    <a:moveTo>
                      <a:pt x="320" y="72"/>
                    </a:moveTo>
                    <a:cubicBezTo>
                      <a:pt x="321" y="129"/>
                      <a:pt x="269" y="146"/>
                      <a:pt x="267" y="146"/>
                    </a:cubicBezTo>
                    <a:cubicBezTo>
                      <a:pt x="263" y="148"/>
                      <a:pt x="261" y="151"/>
                      <a:pt x="260" y="155"/>
                    </a:cubicBezTo>
                    <a:cubicBezTo>
                      <a:pt x="254" y="210"/>
                      <a:pt x="206" y="265"/>
                      <a:pt x="115" y="265"/>
                    </a:cubicBezTo>
                    <a:cubicBezTo>
                      <a:pt x="40" y="265"/>
                      <a:pt x="8" y="239"/>
                      <a:pt x="0" y="232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53" y="108"/>
                      <a:pt x="180" y="135"/>
                      <a:pt x="180" y="169"/>
                    </a:cubicBezTo>
                    <a:cubicBezTo>
                      <a:pt x="180" y="172"/>
                      <a:pt x="180" y="172"/>
                      <a:pt x="180" y="172"/>
                    </a:cubicBezTo>
                    <a:cubicBezTo>
                      <a:pt x="180" y="177"/>
                      <a:pt x="185" y="182"/>
                      <a:pt x="190" y="182"/>
                    </a:cubicBezTo>
                    <a:cubicBezTo>
                      <a:pt x="196" y="182"/>
                      <a:pt x="200" y="177"/>
                      <a:pt x="200" y="172"/>
                    </a:cubicBezTo>
                    <a:cubicBezTo>
                      <a:pt x="200" y="169"/>
                      <a:pt x="200" y="169"/>
                      <a:pt x="200" y="169"/>
                    </a:cubicBezTo>
                    <a:cubicBezTo>
                      <a:pt x="200" y="124"/>
                      <a:pt x="164" y="88"/>
                      <a:pt x="119" y="88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86" y="61"/>
                      <a:pt x="86" y="61"/>
                      <a:pt x="86" y="61"/>
                    </a:cubicBezTo>
                    <a:cubicBezTo>
                      <a:pt x="86" y="46"/>
                      <a:pt x="92" y="31"/>
                      <a:pt x="103" y="20"/>
                    </a:cubicBezTo>
                    <a:cubicBezTo>
                      <a:pt x="115" y="8"/>
                      <a:pt x="129" y="2"/>
                      <a:pt x="145" y="2"/>
                    </a:cubicBezTo>
                    <a:cubicBezTo>
                      <a:pt x="145" y="2"/>
                      <a:pt x="145" y="2"/>
                      <a:pt x="145" y="2"/>
                    </a:cubicBezTo>
                    <a:cubicBezTo>
                      <a:pt x="177" y="2"/>
                      <a:pt x="206" y="2"/>
                      <a:pt x="232" y="1"/>
                    </a:cubicBezTo>
                    <a:cubicBezTo>
                      <a:pt x="272" y="0"/>
                      <a:pt x="293" y="4"/>
                      <a:pt x="305" y="15"/>
                    </a:cubicBezTo>
                    <a:cubicBezTo>
                      <a:pt x="306" y="16"/>
                      <a:pt x="311" y="23"/>
                      <a:pt x="313" y="26"/>
                    </a:cubicBezTo>
                    <a:cubicBezTo>
                      <a:pt x="317" y="36"/>
                      <a:pt x="320" y="51"/>
                      <a:pt x="320" y="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83D14A6D-7F1B-CE10-F5AA-B0B7BE78A24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70245" y="3439192"/>
                <a:ext cx="1906002" cy="1854589"/>
              </a:xfrm>
              <a:custGeom>
                <a:avLst/>
                <a:gdLst>
                  <a:gd name="T0" fmla="*/ 323 w 358"/>
                  <a:gd name="T1" fmla="*/ 246 h 329"/>
                  <a:gd name="T2" fmla="*/ 319 w 358"/>
                  <a:gd name="T3" fmla="*/ 242 h 329"/>
                  <a:gd name="T4" fmla="*/ 232 w 358"/>
                  <a:gd name="T5" fmla="*/ 222 h 329"/>
                  <a:gd name="T6" fmla="*/ 145 w 358"/>
                  <a:gd name="T7" fmla="*/ 223 h 329"/>
                  <a:gd name="T8" fmla="*/ 145 w 358"/>
                  <a:gd name="T9" fmla="*/ 223 h 329"/>
                  <a:gd name="T10" fmla="*/ 89 w 358"/>
                  <a:gd name="T11" fmla="*/ 246 h 329"/>
                  <a:gd name="T12" fmla="*/ 66 w 358"/>
                  <a:gd name="T13" fmla="*/ 302 h 329"/>
                  <a:gd name="T14" fmla="*/ 66 w 358"/>
                  <a:gd name="T15" fmla="*/ 329 h 329"/>
                  <a:gd name="T16" fmla="*/ 0 w 358"/>
                  <a:gd name="T17" fmla="*/ 329 h 329"/>
                  <a:gd name="T18" fmla="*/ 0 w 358"/>
                  <a:gd name="T19" fmla="*/ 95 h 329"/>
                  <a:gd name="T20" fmla="*/ 121 w 358"/>
                  <a:gd name="T21" fmla="*/ 95 h 329"/>
                  <a:gd name="T22" fmla="*/ 121 w 358"/>
                  <a:gd name="T23" fmla="*/ 123 h 329"/>
                  <a:gd name="T24" fmla="*/ 115 w 358"/>
                  <a:gd name="T25" fmla="*/ 123 h 329"/>
                  <a:gd name="T26" fmla="*/ 60 w 358"/>
                  <a:gd name="T27" fmla="*/ 178 h 329"/>
                  <a:gd name="T28" fmla="*/ 60 w 358"/>
                  <a:gd name="T29" fmla="*/ 192 h 329"/>
                  <a:gd name="T30" fmla="*/ 70 w 358"/>
                  <a:gd name="T31" fmla="*/ 202 h 329"/>
                  <a:gd name="T32" fmla="*/ 80 w 358"/>
                  <a:gd name="T33" fmla="*/ 192 h 329"/>
                  <a:gd name="T34" fmla="*/ 80 w 358"/>
                  <a:gd name="T35" fmla="*/ 178 h 329"/>
                  <a:gd name="T36" fmla="*/ 115 w 358"/>
                  <a:gd name="T37" fmla="*/ 142 h 329"/>
                  <a:gd name="T38" fmla="*/ 148 w 358"/>
                  <a:gd name="T39" fmla="*/ 142 h 329"/>
                  <a:gd name="T40" fmla="*/ 183 w 358"/>
                  <a:gd name="T41" fmla="*/ 177 h 329"/>
                  <a:gd name="T42" fmla="*/ 183 w 358"/>
                  <a:gd name="T43" fmla="*/ 187 h 329"/>
                  <a:gd name="T44" fmla="*/ 193 w 358"/>
                  <a:gd name="T45" fmla="*/ 197 h 329"/>
                  <a:gd name="T46" fmla="*/ 202 w 358"/>
                  <a:gd name="T47" fmla="*/ 187 h 329"/>
                  <a:gd name="T48" fmla="*/ 202 w 358"/>
                  <a:gd name="T49" fmla="*/ 177 h 329"/>
                  <a:gd name="T50" fmla="*/ 148 w 358"/>
                  <a:gd name="T51" fmla="*/ 123 h 329"/>
                  <a:gd name="T52" fmla="*/ 141 w 358"/>
                  <a:gd name="T53" fmla="*/ 123 h 329"/>
                  <a:gd name="T54" fmla="*/ 141 w 358"/>
                  <a:gd name="T55" fmla="*/ 76 h 329"/>
                  <a:gd name="T56" fmla="*/ 215 w 358"/>
                  <a:gd name="T57" fmla="*/ 2 h 329"/>
                  <a:gd name="T58" fmla="*/ 299 w 358"/>
                  <a:gd name="T59" fmla="*/ 2 h 329"/>
                  <a:gd name="T60" fmla="*/ 300 w 358"/>
                  <a:gd name="T61" fmla="*/ 2 h 329"/>
                  <a:gd name="T62" fmla="*/ 337 w 358"/>
                  <a:gd name="T63" fmla="*/ 15 h 329"/>
                  <a:gd name="T64" fmla="*/ 357 w 358"/>
                  <a:gd name="T65" fmla="*/ 76 h 329"/>
                  <a:gd name="T66" fmla="*/ 357 w 358"/>
                  <a:gd name="T67" fmla="*/ 176 h 329"/>
                  <a:gd name="T68" fmla="*/ 323 w 358"/>
                  <a:gd name="T69" fmla="*/ 246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58" h="329">
                    <a:moveTo>
                      <a:pt x="323" y="246"/>
                    </a:moveTo>
                    <a:cubicBezTo>
                      <a:pt x="321" y="244"/>
                      <a:pt x="320" y="243"/>
                      <a:pt x="319" y="242"/>
                    </a:cubicBezTo>
                    <a:cubicBezTo>
                      <a:pt x="303" y="226"/>
                      <a:pt x="278" y="221"/>
                      <a:pt x="232" y="222"/>
                    </a:cubicBezTo>
                    <a:cubicBezTo>
                      <a:pt x="206" y="223"/>
                      <a:pt x="177" y="224"/>
                      <a:pt x="145" y="223"/>
                    </a:cubicBezTo>
                    <a:cubicBezTo>
                      <a:pt x="145" y="223"/>
                      <a:pt x="145" y="223"/>
                      <a:pt x="145" y="223"/>
                    </a:cubicBezTo>
                    <a:cubicBezTo>
                      <a:pt x="124" y="223"/>
                      <a:pt x="104" y="232"/>
                      <a:pt x="89" y="246"/>
                    </a:cubicBezTo>
                    <a:cubicBezTo>
                      <a:pt x="74" y="261"/>
                      <a:pt x="66" y="281"/>
                      <a:pt x="66" y="302"/>
                    </a:cubicBezTo>
                    <a:cubicBezTo>
                      <a:pt x="66" y="329"/>
                      <a:pt x="66" y="329"/>
                      <a:pt x="66" y="329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23"/>
                      <a:pt x="121" y="123"/>
                      <a:pt x="121" y="123"/>
                    </a:cubicBezTo>
                    <a:cubicBezTo>
                      <a:pt x="115" y="123"/>
                      <a:pt x="115" y="123"/>
                      <a:pt x="115" y="123"/>
                    </a:cubicBezTo>
                    <a:cubicBezTo>
                      <a:pt x="85" y="123"/>
                      <a:pt x="60" y="147"/>
                      <a:pt x="60" y="178"/>
                    </a:cubicBezTo>
                    <a:cubicBezTo>
                      <a:pt x="60" y="192"/>
                      <a:pt x="60" y="192"/>
                      <a:pt x="60" y="192"/>
                    </a:cubicBezTo>
                    <a:cubicBezTo>
                      <a:pt x="60" y="198"/>
                      <a:pt x="65" y="202"/>
                      <a:pt x="70" y="202"/>
                    </a:cubicBezTo>
                    <a:cubicBezTo>
                      <a:pt x="75" y="202"/>
                      <a:pt x="80" y="198"/>
                      <a:pt x="80" y="192"/>
                    </a:cubicBezTo>
                    <a:cubicBezTo>
                      <a:pt x="80" y="178"/>
                      <a:pt x="80" y="178"/>
                      <a:pt x="80" y="178"/>
                    </a:cubicBezTo>
                    <a:cubicBezTo>
                      <a:pt x="80" y="158"/>
                      <a:pt x="96" y="142"/>
                      <a:pt x="115" y="142"/>
                    </a:cubicBezTo>
                    <a:cubicBezTo>
                      <a:pt x="148" y="142"/>
                      <a:pt x="148" y="142"/>
                      <a:pt x="148" y="142"/>
                    </a:cubicBezTo>
                    <a:cubicBezTo>
                      <a:pt x="167" y="142"/>
                      <a:pt x="183" y="158"/>
                      <a:pt x="183" y="177"/>
                    </a:cubicBezTo>
                    <a:cubicBezTo>
                      <a:pt x="183" y="187"/>
                      <a:pt x="183" y="187"/>
                      <a:pt x="183" y="187"/>
                    </a:cubicBezTo>
                    <a:cubicBezTo>
                      <a:pt x="183" y="192"/>
                      <a:pt x="187" y="197"/>
                      <a:pt x="193" y="197"/>
                    </a:cubicBezTo>
                    <a:cubicBezTo>
                      <a:pt x="198" y="197"/>
                      <a:pt x="202" y="192"/>
                      <a:pt x="202" y="187"/>
                    </a:cubicBezTo>
                    <a:cubicBezTo>
                      <a:pt x="202" y="177"/>
                      <a:pt x="202" y="177"/>
                      <a:pt x="202" y="177"/>
                    </a:cubicBezTo>
                    <a:cubicBezTo>
                      <a:pt x="202" y="147"/>
                      <a:pt x="178" y="123"/>
                      <a:pt x="148" y="123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41" y="76"/>
                      <a:pt x="141" y="76"/>
                      <a:pt x="141" y="76"/>
                    </a:cubicBezTo>
                    <a:cubicBezTo>
                      <a:pt x="141" y="35"/>
                      <a:pt x="174" y="2"/>
                      <a:pt x="215" y="2"/>
                    </a:cubicBezTo>
                    <a:cubicBezTo>
                      <a:pt x="299" y="2"/>
                      <a:pt x="299" y="2"/>
                      <a:pt x="299" y="2"/>
                    </a:cubicBezTo>
                    <a:cubicBezTo>
                      <a:pt x="299" y="2"/>
                      <a:pt x="299" y="2"/>
                      <a:pt x="300" y="2"/>
                    </a:cubicBezTo>
                    <a:cubicBezTo>
                      <a:pt x="300" y="2"/>
                      <a:pt x="321" y="0"/>
                      <a:pt x="337" y="15"/>
                    </a:cubicBezTo>
                    <a:cubicBezTo>
                      <a:pt x="350" y="28"/>
                      <a:pt x="357" y="48"/>
                      <a:pt x="357" y="76"/>
                    </a:cubicBezTo>
                    <a:cubicBezTo>
                      <a:pt x="357" y="176"/>
                      <a:pt x="357" y="176"/>
                      <a:pt x="357" y="176"/>
                    </a:cubicBezTo>
                    <a:cubicBezTo>
                      <a:pt x="357" y="176"/>
                      <a:pt x="358" y="227"/>
                      <a:pt x="323" y="246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2A527DE8-C630-0A3C-1439-59FA24AEC9D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640096" y="1722234"/>
                <a:ext cx="1236151" cy="1046002"/>
              </a:xfrm>
              <a:custGeom>
                <a:avLst/>
                <a:gdLst>
                  <a:gd name="T0" fmla="*/ 228 w 232"/>
                  <a:gd name="T1" fmla="*/ 129 h 186"/>
                  <a:gd name="T2" fmla="*/ 128 w 232"/>
                  <a:gd name="T3" fmla="*/ 129 h 186"/>
                  <a:gd name="T4" fmla="*/ 66 w 232"/>
                  <a:gd name="T5" fmla="*/ 73 h 186"/>
                  <a:gd name="T6" fmla="*/ 50 w 232"/>
                  <a:gd name="T7" fmla="*/ 73 h 186"/>
                  <a:gd name="T8" fmla="*/ 40 w 232"/>
                  <a:gd name="T9" fmla="*/ 83 h 186"/>
                  <a:gd name="T10" fmla="*/ 50 w 232"/>
                  <a:gd name="T11" fmla="*/ 93 h 186"/>
                  <a:gd name="T12" fmla="*/ 66 w 232"/>
                  <a:gd name="T13" fmla="*/ 93 h 186"/>
                  <a:gd name="T14" fmla="*/ 109 w 232"/>
                  <a:gd name="T15" fmla="*/ 135 h 186"/>
                  <a:gd name="T16" fmla="*/ 109 w 232"/>
                  <a:gd name="T17" fmla="*/ 145 h 186"/>
                  <a:gd name="T18" fmla="*/ 68 w 232"/>
                  <a:gd name="T19" fmla="*/ 186 h 186"/>
                  <a:gd name="T20" fmla="*/ 0 w 232"/>
                  <a:gd name="T21" fmla="*/ 186 h 186"/>
                  <a:gd name="T22" fmla="*/ 0 w 232"/>
                  <a:gd name="T23" fmla="*/ 73 h 186"/>
                  <a:gd name="T24" fmla="*/ 55 w 232"/>
                  <a:gd name="T25" fmla="*/ 0 h 186"/>
                  <a:gd name="T26" fmla="*/ 154 w 232"/>
                  <a:gd name="T27" fmla="*/ 41 h 186"/>
                  <a:gd name="T28" fmla="*/ 229 w 232"/>
                  <a:gd name="T29" fmla="*/ 115 h 186"/>
                  <a:gd name="T30" fmla="*/ 228 w 232"/>
                  <a:gd name="T3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2" h="186">
                    <a:moveTo>
                      <a:pt x="228" y="129"/>
                    </a:moveTo>
                    <a:cubicBezTo>
                      <a:pt x="128" y="129"/>
                      <a:pt x="128" y="129"/>
                      <a:pt x="128" y="129"/>
                    </a:cubicBezTo>
                    <a:cubicBezTo>
                      <a:pt x="125" y="98"/>
                      <a:pt x="99" y="73"/>
                      <a:pt x="66" y="73"/>
                    </a:cubicBezTo>
                    <a:cubicBezTo>
                      <a:pt x="50" y="73"/>
                      <a:pt x="50" y="73"/>
                      <a:pt x="50" y="73"/>
                    </a:cubicBezTo>
                    <a:cubicBezTo>
                      <a:pt x="44" y="73"/>
                      <a:pt x="40" y="77"/>
                      <a:pt x="40" y="83"/>
                    </a:cubicBezTo>
                    <a:cubicBezTo>
                      <a:pt x="40" y="88"/>
                      <a:pt x="44" y="93"/>
                      <a:pt x="50" y="93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90" y="93"/>
                      <a:pt x="109" y="112"/>
                      <a:pt x="109" y="135"/>
                    </a:cubicBezTo>
                    <a:cubicBezTo>
                      <a:pt x="109" y="145"/>
                      <a:pt x="109" y="145"/>
                      <a:pt x="109" y="145"/>
                    </a:cubicBezTo>
                    <a:cubicBezTo>
                      <a:pt x="109" y="168"/>
                      <a:pt x="90" y="186"/>
                      <a:pt x="68" y="186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70"/>
                      <a:pt x="2" y="0"/>
                      <a:pt x="55" y="0"/>
                    </a:cubicBezTo>
                    <a:cubicBezTo>
                      <a:pt x="77" y="0"/>
                      <a:pt x="116" y="16"/>
                      <a:pt x="154" y="41"/>
                    </a:cubicBezTo>
                    <a:cubicBezTo>
                      <a:pt x="192" y="66"/>
                      <a:pt x="222" y="95"/>
                      <a:pt x="229" y="115"/>
                    </a:cubicBezTo>
                    <a:cubicBezTo>
                      <a:pt x="232" y="122"/>
                      <a:pt x="230" y="127"/>
                      <a:pt x="228" y="129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F5092CA1-7DC9-84F3-3B0F-8BD8C12900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335913" y="2554907"/>
                <a:ext cx="1540334" cy="1314384"/>
              </a:xfrm>
              <a:custGeom>
                <a:avLst/>
                <a:gdLst>
                  <a:gd name="T0" fmla="*/ 289 w 289"/>
                  <a:gd name="T1" fmla="*/ 57 h 233"/>
                  <a:gd name="T2" fmla="*/ 289 w 289"/>
                  <a:gd name="T3" fmla="*/ 139 h 233"/>
                  <a:gd name="T4" fmla="*/ 215 w 289"/>
                  <a:gd name="T5" fmla="*/ 139 h 233"/>
                  <a:gd name="T6" fmla="*/ 121 w 289"/>
                  <a:gd name="T7" fmla="*/ 233 h 233"/>
                  <a:gd name="T8" fmla="*/ 0 w 289"/>
                  <a:gd name="T9" fmla="*/ 233 h 233"/>
                  <a:gd name="T10" fmla="*/ 0 w 289"/>
                  <a:gd name="T11" fmla="*/ 58 h 233"/>
                  <a:gd name="T12" fmla="*/ 68 w 289"/>
                  <a:gd name="T13" fmla="*/ 58 h 233"/>
                  <a:gd name="T14" fmla="*/ 128 w 289"/>
                  <a:gd name="T15" fmla="*/ 1 h 233"/>
                  <a:gd name="T16" fmla="*/ 232 w 289"/>
                  <a:gd name="T17" fmla="*/ 1 h 233"/>
                  <a:gd name="T18" fmla="*/ 233 w 289"/>
                  <a:gd name="T19" fmla="*/ 1 h 233"/>
                  <a:gd name="T20" fmla="*/ 274 w 289"/>
                  <a:gd name="T21" fmla="*/ 15 h 233"/>
                  <a:gd name="T22" fmla="*/ 289 w 289"/>
                  <a:gd name="T23" fmla="*/ 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9" h="233">
                    <a:moveTo>
                      <a:pt x="289" y="57"/>
                    </a:moveTo>
                    <a:cubicBezTo>
                      <a:pt x="289" y="139"/>
                      <a:pt x="289" y="139"/>
                      <a:pt x="289" y="139"/>
                    </a:cubicBezTo>
                    <a:cubicBezTo>
                      <a:pt x="215" y="139"/>
                      <a:pt x="215" y="139"/>
                      <a:pt x="215" y="139"/>
                    </a:cubicBezTo>
                    <a:cubicBezTo>
                      <a:pt x="164" y="139"/>
                      <a:pt x="122" y="181"/>
                      <a:pt x="121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100" y="58"/>
                      <a:pt x="126" y="33"/>
                      <a:pt x="128" y="1"/>
                    </a:cubicBezTo>
                    <a:cubicBezTo>
                      <a:pt x="232" y="1"/>
                      <a:pt x="232" y="1"/>
                      <a:pt x="232" y="1"/>
                    </a:cubicBezTo>
                    <a:cubicBezTo>
                      <a:pt x="232" y="1"/>
                      <a:pt x="233" y="1"/>
                      <a:pt x="233" y="1"/>
                    </a:cubicBezTo>
                    <a:cubicBezTo>
                      <a:pt x="233" y="1"/>
                      <a:pt x="258" y="0"/>
                      <a:pt x="274" y="15"/>
                    </a:cubicBezTo>
                    <a:cubicBezTo>
                      <a:pt x="284" y="25"/>
                      <a:pt x="289" y="39"/>
                      <a:pt x="289" y="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F1E8F03-EE83-6A26-E3C7-0D53C4DF551F}"/>
                </a:ext>
              </a:extLst>
            </p:cNvPr>
            <p:cNvSpPr/>
            <p:nvPr/>
          </p:nvSpPr>
          <p:spPr>
            <a:xfrm>
              <a:off x="10630819" y="4691653"/>
              <a:ext cx="4563786" cy="671273"/>
            </a:xfrm>
            <a:custGeom>
              <a:avLst/>
              <a:gdLst>
                <a:gd name="connsiteX0" fmla="*/ 3085323 w 3085323"/>
                <a:gd name="connsiteY0" fmla="*/ 0 h 510074"/>
                <a:gd name="connsiteX1" fmla="*/ 559837 w 3085323"/>
                <a:gd name="connsiteY1" fmla="*/ 0 h 510074"/>
                <a:gd name="connsiteX2" fmla="*/ 0 w 3085323"/>
                <a:gd name="connsiteY2" fmla="*/ 510074 h 51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323" h="510074">
                  <a:moveTo>
                    <a:pt x="3085323" y="0"/>
                  </a:moveTo>
                  <a:lnTo>
                    <a:pt x="559837" y="0"/>
                  </a:lnTo>
                  <a:lnTo>
                    <a:pt x="0" y="510074"/>
                  </a:lnTo>
                </a:path>
              </a:pathLst>
            </a:custGeom>
            <a:ln w="12700" cmpd="sng">
              <a:solidFill>
                <a:schemeClr val="tx2"/>
              </a:solidFill>
              <a:tailEnd type="oval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8" name="Title2222">
              <a:extLst>
                <a:ext uri="{FF2B5EF4-FFF2-40B4-BE49-F238E27FC236}">
                  <a16:creationId xmlns:a16="http://schemas.microsoft.com/office/drawing/2014/main" id="{E0A26182-F4E5-F140-C2A5-8A85F2513168}"/>
                </a:ext>
              </a:extLst>
            </p:cNvPr>
            <p:cNvSpPr txBox="1"/>
            <p:nvPr/>
          </p:nvSpPr>
          <p:spPr>
            <a:xfrm>
              <a:off x="3093396" y="3515388"/>
              <a:ext cx="4280309" cy="73644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70950" rtlCol="0" anchor="b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2400">
                  <a:latin typeface="+mn-lt"/>
                </a:rPr>
                <a:t>Build an end-to-end ML pipeline using fMRI brain connectivity data</a:t>
              </a:r>
            </a:p>
          </p:txBody>
        </p:sp>
        <p:cxnSp>
          <p:nvCxnSpPr>
            <p:cNvPr id="30" name="HorizontalLine23">
              <a:extLst>
                <a:ext uri="{FF2B5EF4-FFF2-40B4-BE49-F238E27FC236}">
                  <a16:creationId xmlns:a16="http://schemas.microsoft.com/office/drawing/2014/main" id="{3EC46F0A-F2B0-FA49-AEB9-90AADCA3667A}"/>
                </a:ext>
              </a:extLst>
            </p:cNvPr>
            <p:cNvCxnSpPr>
              <a:cxnSpLocks/>
            </p:cNvCxnSpPr>
            <p:nvPr/>
          </p:nvCxnSpPr>
          <p:spPr>
            <a:xfrm>
              <a:off x="3093396" y="4383561"/>
              <a:ext cx="4893469" cy="0"/>
            </a:xfrm>
            <a:prstGeom prst="line">
              <a:avLst/>
            </a:prstGeom>
            <a:ln w="12700" cmpd="sng">
              <a:solidFill>
                <a:schemeClr val="tx2"/>
              </a:solidFill>
              <a:tailEnd type="oval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itle2222">
              <a:extLst>
                <a:ext uri="{FF2B5EF4-FFF2-40B4-BE49-F238E27FC236}">
                  <a16:creationId xmlns:a16="http://schemas.microsoft.com/office/drawing/2014/main" id="{97A395D0-A9F0-DE68-120F-2E9CE553E280}"/>
                </a:ext>
              </a:extLst>
            </p:cNvPr>
            <p:cNvSpPr txBox="1"/>
            <p:nvPr/>
          </p:nvSpPr>
          <p:spPr>
            <a:xfrm>
              <a:off x="11706867" y="3802272"/>
              <a:ext cx="4280309" cy="73644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70950" rtlCol="0" anchor="b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2400">
                  <a:latin typeface="+mn-lt"/>
                </a:rPr>
                <a:t>Predict age based on functional brain networks</a:t>
              </a:r>
            </a:p>
          </p:txBody>
        </p:sp>
        <p:cxnSp>
          <p:nvCxnSpPr>
            <p:cNvPr id="35" name="HorizontalLine23">
              <a:extLst>
                <a:ext uri="{FF2B5EF4-FFF2-40B4-BE49-F238E27FC236}">
                  <a16:creationId xmlns:a16="http://schemas.microsoft.com/office/drawing/2014/main" id="{6A22B1D1-3C3E-F4FF-B3CE-6D7600761DFA}"/>
                </a:ext>
              </a:extLst>
            </p:cNvPr>
            <p:cNvCxnSpPr>
              <a:cxnSpLocks/>
            </p:cNvCxnSpPr>
            <p:nvPr/>
          </p:nvCxnSpPr>
          <p:spPr>
            <a:xfrm>
              <a:off x="2480236" y="6974361"/>
              <a:ext cx="4893469" cy="0"/>
            </a:xfrm>
            <a:prstGeom prst="line">
              <a:avLst/>
            </a:prstGeom>
            <a:ln w="12700" cmpd="sng">
              <a:solidFill>
                <a:schemeClr val="tx2"/>
              </a:solidFill>
              <a:tailEnd type="oval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itle2222">
              <a:extLst>
                <a:ext uri="{FF2B5EF4-FFF2-40B4-BE49-F238E27FC236}">
                  <a16:creationId xmlns:a16="http://schemas.microsoft.com/office/drawing/2014/main" id="{53F485CE-5C7F-86A9-A5A3-94F086F5C7BF}"/>
                </a:ext>
              </a:extLst>
            </p:cNvPr>
            <p:cNvSpPr txBox="1"/>
            <p:nvPr/>
          </p:nvSpPr>
          <p:spPr>
            <a:xfrm>
              <a:off x="2635100" y="6035173"/>
              <a:ext cx="3980330" cy="787736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70950" rtlCol="0" anchor="b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2400">
                  <a:latin typeface="+mn-lt"/>
                </a:rPr>
                <a:t>Identify sex-based behavioral</a:t>
              </a:r>
            </a:p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2400"/>
                <a:t>a</a:t>
              </a:r>
              <a:r>
                <a:rPr lang="en-US" sz="2400">
                  <a:latin typeface="+mn-lt"/>
                </a:rPr>
                <a:t>nd neurological differences</a:t>
              </a: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B8E6A75-F395-753E-FBCB-1BAF8CB5E966}"/>
                </a:ext>
              </a:extLst>
            </p:cNvPr>
            <p:cNvSpPr/>
            <p:nvPr/>
          </p:nvSpPr>
          <p:spPr>
            <a:xfrm>
              <a:off x="10890795" y="7161603"/>
              <a:ext cx="4563786" cy="671273"/>
            </a:xfrm>
            <a:custGeom>
              <a:avLst/>
              <a:gdLst>
                <a:gd name="connsiteX0" fmla="*/ 3085323 w 3085323"/>
                <a:gd name="connsiteY0" fmla="*/ 0 h 510074"/>
                <a:gd name="connsiteX1" fmla="*/ 559837 w 3085323"/>
                <a:gd name="connsiteY1" fmla="*/ 0 h 510074"/>
                <a:gd name="connsiteX2" fmla="*/ 0 w 3085323"/>
                <a:gd name="connsiteY2" fmla="*/ 510074 h 51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323" h="510074">
                  <a:moveTo>
                    <a:pt x="3085323" y="0"/>
                  </a:moveTo>
                  <a:lnTo>
                    <a:pt x="559837" y="0"/>
                  </a:lnTo>
                  <a:lnTo>
                    <a:pt x="0" y="510074"/>
                  </a:lnTo>
                </a:path>
              </a:pathLst>
            </a:custGeom>
            <a:ln w="12700" cmpd="sng">
              <a:solidFill>
                <a:schemeClr val="tx2"/>
              </a:solidFill>
              <a:tailEnd type="oval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8" name="Title2222">
              <a:extLst>
                <a:ext uri="{FF2B5EF4-FFF2-40B4-BE49-F238E27FC236}">
                  <a16:creationId xmlns:a16="http://schemas.microsoft.com/office/drawing/2014/main" id="{E27659AC-B43E-3206-AB0D-20E78363614F}"/>
                </a:ext>
              </a:extLst>
            </p:cNvPr>
            <p:cNvSpPr txBox="1"/>
            <p:nvPr/>
          </p:nvSpPr>
          <p:spPr>
            <a:xfrm>
              <a:off x="12086647" y="6262402"/>
              <a:ext cx="4946294" cy="73644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70950" rtlCol="0" anchor="b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2400">
                  <a:latin typeface="+mn-lt"/>
                </a:rPr>
                <a:t>Evaluate model fairness and interpretability across sexes</a:t>
              </a:r>
            </a:p>
          </p:txBody>
        </p:sp>
      </p:grpSp>
      <p:sp>
        <p:nvSpPr>
          <p:cNvPr id="39" name="Title 5">
            <a:extLst>
              <a:ext uri="{FF2B5EF4-FFF2-40B4-BE49-F238E27FC236}">
                <a16:creationId xmlns:a16="http://schemas.microsoft.com/office/drawing/2014/main" id="{71A1374B-4372-CD6B-4888-F539242BEB0E}"/>
              </a:ext>
            </a:extLst>
          </p:cNvPr>
          <p:cNvSpPr txBox="1">
            <a:spLocks/>
          </p:cNvSpPr>
          <p:nvPr/>
        </p:nvSpPr>
        <p:spPr>
          <a:xfrm>
            <a:off x="826773" y="1818584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>
                <a:solidFill>
                  <a:srgbClr val="293E6B"/>
                </a:solidFill>
                <a:latin typeface="Roboto"/>
                <a:ea typeface="Roboto"/>
                <a:cs typeface="Roboto"/>
              </a:rPr>
              <a:t>Core Research Question:</a:t>
            </a:r>
          </a:p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How do brain networks develop differently across males and females in adolescence?</a:t>
            </a:r>
          </a:p>
        </p:txBody>
      </p:sp>
    </p:spTree>
    <p:extLst>
      <p:ext uri="{BB962C8B-B14F-4D97-AF65-F5344CB8AC3E}">
        <p14:creationId xmlns:p14="http://schemas.microsoft.com/office/powerpoint/2010/main" val="15367608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6E571-55F5-14E4-5765-58659858C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AEE7BA1-EE45-2105-4057-E0A7F6271D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715255" y="2649872"/>
            <a:ext cx="8867054" cy="62855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US" sz="1600" b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7C6F2A-DB8F-E25B-FBB4-98BD546842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7C6F2A-DB8F-E25B-FBB4-98BD546842C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BD9C2996-1350-DC70-A2A7-046EC601B8FF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B3D80514-E13D-B9C1-3CAB-92D6AAE08620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3CACD243-6A51-E798-1367-585805C3E23C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1EC1956-3D4A-BB13-BF43-F7F5DCAB0FE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CB253E17-756E-FC71-2CB2-E85FC461759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91CF4C20-A9DC-E09E-F387-02472346844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30488748-32AE-162A-F0C9-518BCE60D0AD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Brain Connectivity Trends</a:t>
            </a:r>
            <a:endParaRPr lang="en-US" sz="320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RbLeanShape Arrow Option 1 26">
            <a:extLst>
              <a:ext uri="{FF2B5EF4-FFF2-40B4-BE49-F238E27FC236}">
                <a16:creationId xmlns:a16="http://schemas.microsoft.com/office/drawing/2014/main" id="{5B0E7BDE-18CF-2D28-4D93-6763F0874E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7988" y="2351623"/>
            <a:ext cx="10432817" cy="6882023"/>
          </a:xfrm>
          <a:custGeom>
            <a:avLst/>
            <a:gdLst>
              <a:gd name="connsiteX0" fmla="*/ 0 w 635000"/>
              <a:gd name="connsiteY0" fmla="*/ 0 h 476250"/>
              <a:gd name="connsiteX1" fmla="*/ 352839 w 635000"/>
              <a:gd name="connsiteY1" fmla="*/ 0 h 476250"/>
              <a:gd name="connsiteX2" fmla="*/ 635000 w 635000"/>
              <a:gd name="connsiteY2" fmla="*/ 238125 h 476250"/>
              <a:gd name="connsiteX3" fmla="*/ 352839 w 635000"/>
              <a:gd name="connsiteY3" fmla="*/ 476250 h 476250"/>
              <a:gd name="connsiteX4" fmla="*/ 0 w 635000"/>
              <a:gd name="connsiteY4" fmla="*/ 476250 h 476250"/>
              <a:gd name="connsiteX0" fmla="*/ 0 w 627784"/>
              <a:gd name="connsiteY0" fmla="*/ 0 h 476250"/>
              <a:gd name="connsiteX1" fmla="*/ 352839 w 627784"/>
              <a:gd name="connsiteY1" fmla="*/ 0 h 476250"/>
              <a:gd name="connsiteX2" fmla="*/ 627784 w 627784"/>
              <a:gd name="connsiteY2" fmla="*/ 238125 h 476250"/>
              <a:gd name="connsiteX3" fmla="*/ 352839 w 627784"/>
              <a:gd name="connsiteY3" fmla="*/ 476250 h 476250"/>
              <a:gd name="connsiteX4" fmla="*/ 0 w 627784"/>
              <a:gd name="connsiteY4" fmla="*/ 476250 h 476250"/>
              <a:gd name="connsiteX0" fmla="*/ 0 w 620650"/>
              <a:gd name="connsiteY0" fmla="*/ 0 h 476250"/>
              <a:gd name="connsiteX1" fmla="*/ 352839 w 620650"/>
              <a:gd name="connsiteY1" fmla="*/ 0 h 476250"/>
              <a:gd name="connsiteX2" fmla="*/ 620650 w 620650"/>
              <a:gd name="connsiteY2" fmla="*/ 238125 h 476250"/>
              <a:gd name="connsiteX3" fmla="*/ 352839 w 620650"/>
              <a:gd name="connsiteY3" fmla="*/ 476250 h 476250"/>
              <a:gd name="connsiteX4" fmla="*/ 0 w 620650"/>
              <a:gd name="connsiteY4" fmla="*/ 476250 h 476250"/>
              <a:gd name="connsiteX0" fmla="*/ 0 w 613597"/>
              <a:gd name="connsiteY0" fmla="*/ 0 h 476250"/>
              <a:gd name="connsiteX1" fmla="*/ 352839 w 613597"/>
              <a:gd name="connsiteY1" fmla="*/ 0 h 476250"/>
              <a:gd name="connsiteX2" fmla="*/ 613597 w 613597"/>
              <a:gd name="connsiteY2" fmla="*/ 238125 h 476250"/>
              <a:gd name="connsiteX3" fmla="*/ 352839 w 613597"/>
              <a:gd name="connsiteY3" fmla="*/ 476250 h 476250"/>
              <a:gd name="connsiteX4" fmla="*/ 0 w 613597"/>
              <a:gd name="connsiteY4" fmla="*/ 476250 h 476250"/>
              <a:gd name="connsiteX0" fmla="*/ 0 w 606624"/>
              <a:gd name="connsiteY0" fmla="*/ 0 h 476250"/>
              <a:gd name="connsiteX1" fmla="*/ 352839 w 606624"/>
              <a:gd name="connsiteY1" fmla="*/ 0 h 476250"/>
              <a:gd name="connsiteX2" fmla="*/ 606624 w 606624"/>
              <a:gd name="connsiteY2" fmla="*/ 238125 h 476250"/>
              <a:gd name="connsiteX3" fmla="*/ 352839 w 606624"/>
              <a:gd name="connsiteY3" fmla="*/ 476250 h 476250"/>
              <a:gd name="connsiteX4" fmla="*/ 0 w 606624"/>
              <a:gd name="connsiteY4" fmla="*/ 476250 h 476250"/>
              <a:gd name="connsiteX0" fmla="*/ 0 w 599731"/>
              <a:gd name="connsiteY0" fmla="*/ 0 h 476250"/>
              <a:gd name="connsiteX1" fmla="*/ 352839 w 599731"/>
              <a:gd name="connsiteY1" fmla="*/ 0 h 476250"/>
              <a:gd name="connsiteX2" fmla="*/ 599731 w 599731"/>
              <a:gd name="connsiteY2" fmla="*/ 238125 h 476250"/>
              <a:gd name="connsiteX3" fmla="*/ 352839 w 599731"/>
              <a:gd name="connsiteY3" fmla="*/ 476250 h 476250"/>
              <a:gd name="connsiteX4" fmla="*/ 0 w 599731"/>
              <a:gd name="connsiteY4" fmla="*/ 476250 h 476250"/>
              <a:gd name="connsiteX0" fmla="*/ 0 w 592916"/>
              <a:gd name="connsiteY0" fmla="*/ 0 h 476250"/>
              <a:gd name="connsiteX1" fmla="*/ 352839 w 592916"/>
              <a:gd name="connsiteY1" fmla="*/ 0 h 476250"/>
              <a:gd name="connsiteX2" fmla="*/ 592916 w 592916"/>
              <a:gd name="connsiteY2" fmla="*/ 238125 h 476250"/>
              <a:gd name="connsiteX3" fmla="*/ 352839 w 592916"/>
              <a:gd name="connsiteY3" fmla="*/ 476250 h 476250"/>
              <a:gd name="connsiteX4" fmla="*/ 0 w 592916"/>
              <a:gd name="connsiteY4" fmla="*/ 476250 h 476250"/>
              <a:gd name="connsiteX0" fmla="*/ 0 w 586178"/>
              <a:gd name="connsiteY0" fmla="*/ 0 h 476250"/>
              <a:gd name="connsiteX1" fmla="*/ 352839 w 586178"/>
              <a:gd name="connsiteY1" fmla="*/ 0 h 476250"/>
              <a:gd name="connsiteX2" fmla="*/ 586178 w 586178"/>
              <a:gd name="connsiteY2" fmla="*/ 238125 h 476250"/>
              <a:gd name="connsiteX3" fmla="*/ 352839 w 586178"/>
              <a:gd name="connsiteY3" fmla="*/ 476250 h 476250"/>
              <a:gd name="connsiteX4" fmla="*/ 0 w 586178"/>
              <a:gd name="connsiteY4" fmla="*/ 476250 h 476250"/>
              <a:gd name="connsiteX0" fmla="*/ 0 w 579517"/>
              <a:gd name="connsiteY0" fmla="*/ 0 h 476250"/>
              <a:gd name="connsiteX1" fmla="*/ 352839 w 579517"/>
              <a:gd name="connsiteY1" fmla="*/ 0 h 476250"/>
              <a:gd name="connsiteX2" fmla="*/ 579517 w 579517"/>
              <a:gd name="connsiteY2" fmla="*/ 238125 h 476250"/>
              <a:gd name="connsiteX3" fmla="*/ 352839 w 579517"/>
              <a:gd name="connsiteY3" fmla="*/ 476250 h 476250"/>
              <a:gd name="connsiteX4" fmla="*/ 0 w 579517"/>
              <a:gd name="connsiteY4" fmla="*/ 476250 h 476250"/>
              <a:gd name="connsiteX0" fmla="*/ 0 w 572932"/>
              <a:gd name="connsiteY0" fmla="*/ 0 h 476250"/>
              <a:gd name="connsiteX1" fmla="*/ 352839 w 572932"/>
              <a:gd name="connsiteY1" fmla="*/ 0 h 476250"/>
              <a:gd name="connsiteX2" fmla="*/ 572932 w 572932"/>
              <a:gd name="connsiteY2" fmla="*/ 238125 h 476250"/>
              <a:gd name="connsiteX3" fmla="*/ 352839 w 572932"/>
              <a:gd name="connsiteY3" fmla="*/ 476250 h 476250"/>
              <a:gd name="connsiteX4" fmla="*/ 0 w 572932"/>
              <a:gd name="connsiteY4" fmla="*/ 476250 h 476250"/>
              <a:gd name="connsiteX0" fmla="*/ 0 w 566421"/>
              <a:gd name="connsiteY0" fmla="*/ 0 h 476250"/>
              <a:gd name="connsiteX1" fmla="*/ 352839 w 566421"/>
              <a:gd name="connsiteY1" fmla="*/ 0 h 476250"/>
              <a:gd name="connsiteX2" fmla="*/ 566421 w 566421"/>
              <a:gd name="connsiteY2" fmla="*/ 238125 h 476250"/>
              <a:gd name="connsiteX3" fmla="*/ 352839 w 566421"/>
              <a:gd name="connsiteY3" fmla="*/ 476250 h 476250"/>
              <a:gd name="connsiteX4" fmla="*/ 0 w 566421"/>
              <a:gd name="connsiteY4" fmla="*/ 476250 h 476250"/>
              <a:gd name="connsiteX0" fmla="*/ 0 w 559984"/>
              <a:gd name="connsiteY0" fmla="*/ 0 h 476250"/>
              <a:gd name="connsiteX1" fmla="*/ 352839 w 559984"/>
              <a:gd name="connsiteY1" fmla="*/ 0 h 476250"/>
              <a:gd name="connsiteX2" fmla="*/ 559984 w 559984"/>
              <a:gd name="connsiteY2" fmla="*/ 238125 h 476250"/>
              <a:gd name="connsiteX3" fmla="*/ 352839 w 559984"/>
              <a:gd name="connsiteY3" fmla="*/ 476250 h 476250"/>
              <a:gd name="connsiteX4" fmla="*/ 0 w 559984"/>
              <a:gd name="connsiteY4" fmla="*/ 476250 h 476250"/>
              <a:gd name="connsiteX0" fmla="*/ 0 w 553621"/>
              <a:gd name="connsiteY0" fmla="*/ 0 h 476250"/>
              <a:gd name="connsiteX1" fmla="*/ 352839 w 553621"/>
              <a:gd name="connsiteY1" fmla="*/ 0 h 476250"/>
              <a:gd name="connsiteX2" fmla="*/ 553621 w 553621"/>
              <a:gd name="connsiteY2" fmla="*/ 238125 h 476250"/>
              <a:gd name="connsiteX3" fmla="*/ 352839 w 553621"/>
              <a:gd name="connsiteY3" fmla="*/ 476250 h 476250"/>
              <a:gd name="connsiteX4" fmla="*/ 0 w 553621"/>
              <a:gd name="connsiteY4" fmla="*/ 476250 h 476250"/>
              <a:gd name="connsiteX0" fmla="*/ 0 w 547330"/>
              <a:gd name="connsiteY0" fmla="*/ 0 h 476250"/>
              <a:gd name="connsiteX1" fmla="*/ 352839 w 547330"/>
              <a:gd name="connsiteY1" fmla="*/ 0 h 476250"/>
              <a:gd name="connsiteX2" fmla="*/ 547330 w 547330"/>
              <a:gd name="connsiteY2" fmla="*/ 238125 h 476250"/>
              <a:gd name="connsiteX3" fmla="*/ 352839 w 547330"/>
              <a:gd name="connsiteY3" fmla="*/ 476250 h 476250"/>
              <a:gd name="connsiteX4" fmla="*/ 0 w 547330"/>
              <a:gd name="connsiteY4" fmla="*/ 476250 h 476250"/>
              <a:gd name="connsiteX0" fmla="*/ 0 w 541110"/>
              <a:gd name="connsiteY0" fmla="*/ 0 h 476250"/>
              <a:gd name="connsiteX1" fmla="*/ 352839 w 541110"/>
              <a:gd name="connsiteY1" fmla="*/ 0 h 476250"/>
              <a:gd name="connsiteX2" fmla="*/ 541110 w 541110"/>
              <a:gd name="connsiteY2" fmla="*/ 238125 h 476250"/>
              <a:gd name="connsiteX3" fmla="*/ 352839 w 541110"/>
              <a:gd name="connsiteY3" fmla="*/ 476250 h 476250"/>
              <a:gd name="connsiteX4" fmla="*/ 0 w 541110"/>
              <a:gd name="connsiteY4" fmla="*/ 476250 h 476250"/>
              <a:gd name="connsiteX0" fmla="*/ 0 w 534961"/>
              <a:gd name="connsiteY0" fmla="*/ 0 h 476250"/>
              <a:gd name="connsiteX1" fmla="*/ 352839 w 534961"/>
              <a:gd name="connsiteY1" fmla="*/ 0 h 476250"/>
              <a:gd name="connsiteX2" fmla="*/ 534961 w 534961"/>
              <a:gd name="connsiteY2" fmla="*/ 238125 h 476250"/>
              <a:gd name="connsiteX3" fmla="*/ 352839 w 534961"/>
              <a:gd name="connsiteY3" fmla="*/ 476250 h 476250"/>
              <a:gd name="connsiteX4" fmla="*/ 0 w 534961"/>
              <a:gd name="connsiteY4" fmla="*/ 476250 h 476250"/>
              <a:gd name="connsiteX0" fmla="*/ 0 w 528882"/>
              <a:gd name="connsiteY0" fmla="*/ 0 h 476250"/>
              <a:gd name="connsiteX1" fmla="*/ 352839 w 528882"/>
              <a:gd name="connsiteY1" fmla="*/ 0 h 476250"/>
              <a:gd name="connsiteX2" fmla="*/ 528882 w 528882"/>
              <a:gd name="connsiteY2" fmla="*/ 238125 h 476250"/>
              <a:gd name="connsiteX3" fmla="*/ 352839 w 528882"/>
              <a:gd name="connsiteY3" fmla="*/ 476250 h 476250"/>
              <a:gd name="connsiteX4" fmla="*/ 0 w 528882"/>
              <a:gd name="connsiteY4" fmla="*/ 476250 h 476250"/>
              <a:gd name="connsiteX0" fmla="*/ 0 w 522872"/>
              <a:gd name="connsiteY0" fmla="*/ 0 h 476250"/>
              <a:gd name="connsiteX1" fmla="*/ 352839 w 522872"/>
              <a:gd name="connsiteY1" fmla="*/ 0 h 476250"/>
              <a:gd name="connsiteX2" fmla="*/ 522872 w 522872"/>
              <a:gd name="connsiteY2" fmla="*/ 238125 h 476250"/>
              <a:gd name="connsiteX3" fmla="*/ 352839 w 522872"/>
              <a:gd name="connsiteY3" fmla="*/ 476250 h 476250"/>
              <a:gd name="connsiteX4" fmla="*/ 0 w 522872"/>
              <a:gd name="connsiteY4" fmla="*/ 476250 h 476250"/>
              <a:gd name="connsiteX0" fmla="*/ 0 w 516930"/>
              <a:gd name="connsiteY0" fmla="*/ 0 h 476250"/>
              <a:gd name="connsiteX1" fmla="*/ 352839 w 516930"/>
              <a:gd name="connsiteY1" fmla="*/ 0 h 476250"/>
              <a:gd name="connsiteX2" fmla="*/ 516930 w 516930"/>
              <a:gd name="connsiteY2" fmla="*/ 238125 h 476250"/>
              <a:gd name="connsiteX3" fmla="*/ 352839 w 516930"/>
              <a:gd name="connsiteY3" fmla="*/ 476250 h 476250"/>
              <a:gd name="connsiteX4" fmla="*/ 0 w 516930"/>
              <a:gd name="connsiteY4" fmla="*/ 476250 h 476250"/>
              <a:gd name="connsiteX0" fmla="*/ 0 w 511056"/>
              <a:gd name="connsiteY0" fmla="*/ 0 h 476250"/>
              <a:gd name="connsiteX1" fmla="*/ 352839 w 511056"/>
              <a:gd name="connsiteY1" fmla="*/ 0 h 476250"/>
              <a:gd name="connsiteX2" fmla="*/ 511056 w 511056"/>
              <a:gd name="connsiteY2" fmla="*/ 238125 h 476250"/>
              <a:gd name="connsiteX3" fmla="*/ 352839 w 511056"/>
              <a:gd name="connsiteY3" fmla="*/ 476250 h 476250"/>
              <a:gd name="connsiteX4" fmla="*/ 0 w 511056"/>
              <a:gd name="connsiteY4" fmla="*/ 476250 h 476250"/>
              <a:gd name="connsiteX0" fmla="*/ 0 w 505249"/>
              <a:gd name="connsiteY0" fmla="*/ 0 h 476250"/>
              <a:gd name="connsiteX1" fmla="*/ 352839 w 505249"/>
              <a:gd name="connsiteY1" fmla="*/ 0 h 476250"/>
              <a:gd name="connsiteX2" fmla="*/ 505249 w 505249"/>
              <a:gd name="connsiteY2" fmla="*/ 238125 h 476250"/>
              <a:gd name="connsiteX3" fmla="*/ 352839 w 505249"/>
              <a:gd name="connsiteY3" fmla="*/ 476250 h 476250"/>
              <a:gd name="connsiteX4" fmla="*/ 0 w 505249"/>
              <a:gd name="connsiteY4" fmla="*/ 476250 h 476250"/>
              <a:gd name="connsiteX0" fmla="*/ 0 w 499508"/>
              <a:gd name="connsiteY0" fmla="*/ 0 h 476250"/>
              <a:gd name="connsiteX1" fmla="*/ 352839 w 499508"/>
              <a:gd name="connsiteY1" fmla="*/ 0 h 476250"/>
              <a:gd name="connsiteX2" fmla="*/ 499508 w 499508"/>
              <a:gd name="connsiteY2" fmla="*/ 238125 h 476250"/>
              <a:gd name="connsiteX3" fmla="*/ 352839 w 499508"/>
              <a:gd name="connsiteY3" fmla="*/ 476250 h 476250"/>
              <a:gd name="connsiteX4" fmla="*/ 0 w 499508"/>
              <a:gd name="connsiteY4" fmla="*/ 476250 h 476250"/>
              <a:gd name="connsiteX0" fmla="*/ 0 w 493832"/>
              <a:gd name="connsiteY0" fmla="*/ 0 h 476250"/>
              <a:gd name="connsiteX1" fmla="*/ 352839 w 493832"/>
              <a:gd name="connsiteY1" fmla="*/ 0 h 476250"/>
              <a:gd name="connsiteX2" fmla="*/ 493832 w 493832"/>
              <a:gd name="connsiteY2" fmla="*/ 238125 h 476250"/>
              <a:gd name="connsiteX3" fmla="*/ 352839 w 493832"/>
              <a:gd name="connsiteY3" fmla="*/ 476250 h 476250"/>
              <a:gd name="connsiteX4" fmla="*/ 0 w 493832"/>
              <a:gd name="connsiteY4" fmla="*/ 476250 h 476250"/>
              <a:gd name="connsiteX0" fmla="*/ 0 w 488220"/>
              <a:gd name="connsiteY0" fmla="*/ 0 h 476250"/>
              <a:gd name="connsiteX1" fmla="*/ 352839 w 488220"/>
              <a:gd name="connsiteY1" fmla="*/ 0 h 476250"/>
              <a:gd name="connsiteX2" fmla="*/ 488220 w 488220"/>
              <a:gd name="connsiteY2" fmla="*/ 238125 h 476250"/>
              <a:gd name="connsiteX3" fmla="*/ 352839 w 488220"/>
              <a:gd name="connsiteY3" fmla="*/ 476250 h 476250"/>
              <a:gd name="connsiteX4" fmla="*/ 0 w 488220"/>
              <a:gd name="connsiteY4" fmla="*/ 476250 h 476250"/>
              <a:gd name="connsiteX0" fmla="*/ 0 w 482672"/>
              <a:gd name="connsiteY0" fmla="*/ 0 h 476250"/>
              <a:gd name="connsiteX1" fmla="*/ 352839 w 482672"/>
              <a:gd name="connsiteY1" fmla="*/ 0 h 476250"/>
              <a:gd name="connsiteX2" fmla="*/ 482672 w 482672"/>
              <a:gd name="connsiteY2" fmla="*/ 238125 h 476250"/>
              <a:gd name="connsiteX3" fmla="*/ 352839 w 482672"/>
              <a:gd name="connsiteY3" fmla="*/ 476250 h 476250"/>
              <a:gd name="connsiteX4" fmla="*/ 0 w 482672"/>
              <a:gd name="connsiteY4" fmla="*/ 476250 h 476250"/>
              <a:gd name="connsiteX0" fmla="*/ 0 w 477187"/>
              <a:gd name="connsiteY0" fmla="*/ 0 h 476250"/>
              <a:gd name="connsiteX1" fmla="*/ 352839 w 477187"/>
              <a:gd name="connsiteY1" fmla="*/ 0 h 476250"/>
              <a:gd name="connsiteX2" fmla="*/ 477187 w 477187"/>
              <a:gd name="connsiteY2" fmla="*/ 238125 h 476250"/>
              <a:gd name="connsiteX3" fmla="*/ 352839 w 477187"/>
              <a:gd name="connsiteY3" fmla="*/ 476250 h 476250"/>
              <a:gd name="connsiteX4" fmla="*/ 0 w 477187"/>
              <a:gd name="connsiteY4" fmla="*/ 476250 h 476250"/>
              <a:gd name="connsiteX0" fmla="*/ 0 w 471764"/>
              <a:gd name="connsiteY0" fmla="*/ 0 h 476250"/>
              <a:gd name="connsiteX1" fmla="*/ 352839 w 471764"/>
              <a:gd name="connsiteY1" fmla="*/ 0 h 476250"/>
              <a:gd name="connsiteX2" fmla="*/ 471764 w 471764"/>
              <a:gd name="connsiteY2" fmla="*/ 238125 h 476250"/>
              <a:gd name="connsiteX3" fmla="*/ 352839 w 471764"/>
              <a:gd name="connsiteY3" fmla="*/ 476250 h 476250"/>
              <a:gd name="connsiteX4" fmla="*/ 0 w 471764"/>
              <a:gd name="connsiteY4" fmla="*/ 476250 h 476250"/>
              <a:gd name="connsiteX0" fmla="*/ 0 w 466403"/>
              <a:gd name="connsiteY0" fmla="*/ 0 h 476250"/>
              <a:gd name="connsiteX1" fmla="*/ 352839 w 466403"/>
              <a:gd name="connsiteY1" fmla="*/ 0 h 476250"/>
              <a:gd name="connsiteX2" fmla="*/ 466403 w 466403"/>
              <a:gd name="connsiteY2" fmla="*/ 238125 h 476250"/>
              <a:gd name="connsiteX3" fmla="*/ 352839 w 466403"/>
              <a:gd name="connsiteY3" fmla="*/ 476250 h 476250"/>
              <a:gd name="connsiteX4" fmla="*/ 0 w 466403"/>
              <a:gd name="connsiteY4" fmla="*/ 476250 h 476250"/>
              <a:gd name="connsiteX0" fmla="*/ 0 w 461103"/>
              <a:gd name="connsiteY0" fmla="*/ 0 h 476250"/>
              <a:gd name="connsiteX1" fmla="*/ 352839 w 461103"/>
              <a:gd name="connsiteY1" fmla="*/ 0 h 476250"/>
              <a:gd name="connsiteX2" fmla="*/ 461103 w 461103"/>
              <a:gd name="connsiteY2" fmla="*/ 238125 h 476250"/>
              <a:gd name="connsiteX3" fmla="*/ 352839 w 461103"/>
              <a:gd name="connsiteY3" fmla="*/ 476250 h 476250"/>
              <a:gd name="connsiteX4" fmla="*/ 0 w 461103"/>
              <a:gd name="connsiteY4" fmla="*/ 476250 h 476250"/>
              <a:gd name="connsiteX0" fmla="*/ 0 w 455863"/>
              <a:gd name="connsiteY0" fmla="*/ 0 h 476250"/>
              <a:gd name="connsiteX1" fmla="*/ 352839 w 455863"/>
              <a:gd name="connsiteY1" fmla="*/ 0 h 476250"/>
              <a:gd name="connsiteX2" fmla="*/ 455863 w 455863"/>
              <a:gd name="connsiteY2" fmla="*/ 238125 h 476250"/>
              <a:gd name="connsiteX3" fmla="*/ 352839 w 455863"/>
              <a:gd name="connsiteY3" fmla="*/ 476250 h 476250"/>
              <a:gd name="connsiteX4" fmla="*/ 0 w 455863"/>
              <a:gd name="connsiteY4" fmla="*/ 476250 h 476250"/>
              <a:gd name="connsiteX0" fmla="*/ 0 w 450683"/>
              <a:gd name="connsiteY0" fmla="*/ 0 h 476250"/>
              <a:gd name="connsiteX1" fmla="*/ 352839 w 450683"/>
              <a:gd name="connsiteY1" fmla="*/ 0 h 476250"/>
              <a:gd name="connsiteX2" fmla="*/ 450683 w 450683"/>
              <a:gd name="connsiteY2" fmla="*/ 238125 h 476250"/>
              <a:gd name="connsiteX3" fmla="*/ 352839 w 450683"/>
              <a:gd name="connsiteY3" fmla="*/ 476250 h 476250"/>
              <a:gd name="connsiteX4" fmla="*/ 0 w 450683"/>
              <a:gd name="connsiteY4" fmla="*/ 476250 h 476250"/>
              <a:gd name="connsiteX0" fmla="*/ 0 w 445562"/>
              <a:gd name="connsiteY0" fmla="*/ 0 h 476250"/>
              <a:gd name="connsiteX1" fmla="*/ 352839 w 445562"/>
              <a:gd name="connsiteY1" fmla="*/ 0 h 476250"/>
              <a:gd name="connsiteX2" fmla="*/ 445562 w 445562"/>
              <a:gd name="connsiteY2" fmla="*/ 238125 h 476250"/>
              <a:gd name="connsiteX3" fmla="*/ 352839 w 445562"/>
              <a:gd name="connsiteY3" fmla="*/ 476250 h 476250"/>
              <a:gd name="connsiteX4" fmla="*/ 0 w 445562"/>
              <a:gd name="connsiteY4" fmla="*/ 476250 h 476250"/>
              <a:gd name="connsiteX0" fmla="*/ 0 w 440499"/>
              <a:gd name="connsiteY0" fmla="*/ 0 h 476250"/>
              <a:gd name="connsiteX1" fmla="*/ 352839 w 440499"/>
              <a:gd name="connsiteY1" fmla="*/ 0 h 476250"/>
              <a:gd name="connsiteX2" fmla="*/ 440499 w 440499"/>
              <a:gd name="connsiteY2" fmla="*/ 238125 h 476250"/>
              <a:gd name="connsiteX3" fmla="*/ 352839 w 440499"/>
              <a:gd name="connsiteY3" fmla="*/ 476250 h 476250"/>
              <a:gd name="connsiteX4" fmla="*/ 0 w 440499"/>
              <a:gd name="connsiteY4" fmla="*/ 476250 h 476250"/>
              <a:gd name="connsiteX0" fmla="*/ 0 w 435493"/>
              <a:gd name="connsiteY0" fmla="*/ 0 h 476250"/>
              <a:gd name="connsiteX1" fmla="*/ 352839 w 435493"/>
              <a:gd name="connsiteY1" fmla="*/ 0 h 476250"/>
              <a:gd name="connsiteX2" fmla="*/ 435493 w 435493"/>
              <a:gd name="connsiteY2" fmla="*/ 238125 h 476250"/>
              <a:gd name="connsiteX3" fmla="*/ 352839 w 435493"/>
              <a:gd name="connsiteY3" fmla="*/ 476250 h 476250"/>
              <a:gd name="connsiteX4" fmla="*/ 0 w 435493"/>
              <a:gd name="connsiteY4" fmla="*/ 476250 h 476250"/>
              <a:gd name="connsiteX0" fmla="*/ 0 w 430544"/>
              <a:gd name="connsiteY0" fmla="*/ 0 h 476250"/>
              <a:gd name="connsiteX1" fmla="*/ 352839 w 430544"/>
              <a:gd name="connsiteY1" fmla="*/ 0 h 476250"/>
              <a:gd name="connsiteX2" fmla="*/ 430544 w 430544"/>
              <a:gd name="connsiteY2" fmla="*/ 238125 h 476250"/>
              <a:gd name="connsiteX3" fmla="*/ 352839 w 430544"/>
              <a:gd name="connsiteY3" fmla="*/ 476250 h 476250"/>
              <a:gd name="connsiteX4" fmla="*/ 0 w 430544"/>
              <a:gd name="connsiteY4" fmla="*/ 476250 h 476250"/>
              <a:gd name="connsiteX0" fmla="*/ 0 w 425651"/>
              <a:gd name="connsiteY0" fmla="*/ 0 h 476250"/>
              <a:gd name="connsiteX1" fmla="*/ 352839 w 425651"/>
              <a:gd name="connsiteY1" fmla="*/ 0 h 476250"/>
              <a:gd name="connsiteX2" fmla="*/ 425651 w 425651"/>
              <a:gd name="connsiteY2" fmla="*/ 238125 h 476250"/>
              <a:gd name="connsiteX3" fmla="*/ 352839 w 425651"/>
              <a:gd name="connsiteY3" fmla="*/ 476250 h 476250"/>
              <a:gd name="connsiteX4" fmla="*/ 0 w 425651"/>
              <a:gd name="connsiteY4" fmla="*/ 476250 h 476250"/>
              <a:gd name="connsiteX0" fmla="*/ 0 w 420814"/>
              <a:gd name="connsiteY0" fmla="*/ 0 h 476250"/>
              <a:gd name="connsiteX1" fmla="*/ 352839 w 420814"/>
              <a:gd name="connsiteY1" fmla="*/ 0 h 476250"/>
              <a:gd name="connsiteX2" fmla="*/ 420814 w 420814"/>
              <a:gd name="connsiteY2" fmla="*/ 238125 h 476250"/>
              <a:gd name="connsiteX3" fmla="*/ 352839 w 420814"/>
              <a:gd name="connsiteY3" fmla="*/ 476250 h 476250"/>
              <a:gd name="connsiteX4" fmla="*/ 0 w 420814"/>
              <a:gd name="connsiteY4" fmla="*/ 476250 h 476250"/>
              <a:gd name="connsiteX0" fmla="*/ 0 w 416032"/>
              <a:gd name="connsiteY0" fmla="*/ 0 h 476250"/>
              <a:gd name="connsiteX1" fmla="*/ 352839 w 416032"/>
              <a:gd name="connsiteY1" fmla="*/ 0 h 476250"/>
              <a:gd name="connsiteX2" fmla="*/ 416032 w 416032"/>
              <a:gd name="connsiteY2" fmla="*/ 238125 h 476250"/>
              <a:gd name="connsiteX3" fmla="*/ 352839 w 416032"/>
              <a:gd name="connsiteY3" fmla="*/ 476250 h 476250"/>
              <a:gd name="connsiteX4" fmla="*/ 0 w 416032"/>
              <a:gd name="connsiteY4" fmla="*/ 476250 h 476250"/>
              <a:gd name="connsiteX0" fmla="*/ 0 w 411304"/>
              <a:gd name="connsiteY0" fmla="*/ 0 h 476250"/>
              <a:gd name="connsiteX1" fmla="*/ 352839 w 411304"/>
              <a:gd name="connsiteY1" fmla="*/ 0 h 476250"/>
              <a:gd name="connsiteX2" fmla="*/ 411304 w 411304"/>
              <a:gd name="connsiteY2" fmla="*/ 238125 h 476250"/>
              <a:gd name="connsiteX3" fmla="*/ 352839 w 411304"/>
              <a:gd name="connsiteY3" fmla="*/ 476250 h 476250"/>
              <a:gd name="connsiteX4" fmla="*/ 0 w 411304"/>
              <a:gd name="connsiteY4" fmla="*/ 476250 h 476250"/>
              <a:gd name="connsiteX0" fmla="*/ 0 w 406630"/>
              <a:gd name="connsiteY0" fmla="*/ 0 h 476250"/>
              <a:gd name="connsiteX1" fmla="*/ 352839 w 406630"/>
              <a:gd name="connsiteY1" fmla="*/ 0 h 476250"/>
              <a:gd name="connsiteX2" fmla="*/ 406630 w 406630"/>
              <a:gd name="connsiteY2" fmla="*/ 238125 h 476250"/>
              <a:gd name="connsiteX3" fmla="*/ 352839 w 406630"/>
              <a:gd name="connsiteY3" fmla="*/ 476250 h 476250"/>
              <a:gd name="connsiteX4" fmla="*/ 0 w 406630"/>
              <a:gd name="connsiteY4" fmla="*/ 476250 h 476250"/>
              <a:gd name="connsiteX0" fmla="*/ 0 w 402009"/>
              <a:gd name="connsiteY0" fmla="*/ 0 h 476250"/>
              <a:gd name="connsiteX1" fmla="*/ 352839 w 402009"/>
              <a:gd name="connsiteY1" fmla="*/ 0 h 476250"/>
              <a:gd name="connsiteX2" fmla="*/ 402009 w 402009"/>
              <a:gd name="connsiteY2" fmla="*/ 238125 h 476250"/>
              <a:gd name="connsiteX3" fmla="*/ 352839 w 402009"/>
              <a:gd name="connsiteY3" fmla="*/ 476250 h 476250"/>
              <a:gd name="connsiteX4" fmla="*/ 0 w 402009"/>
              <a:gd name="connsiteY4" fmla="*/ 476250 h 476250"/>
              <a:gd name="connsiteX0" fmla="*/ 0 w 397441"/>
              <a:gd name="connsiteY0" fmla="*/ 0 h 476250"/>
              <a:gd name="connsiteX1" fmla="*/ 352839 w 397441"/>
              <a:gd name="connsiteY1" fmla="*/ 0 h 476250"/>
              <a:gd name="connsiteX2" fmla="*/ 397441 w 397441"/>
              <a:gd name="connsiteY2" fmla="*/ 238125 h 476250"/>
              <a:gd name="connsiteX3" fmla="*/ 352839 w 397441"/>
              <a:gd name="connsiteY3" fmla="*/ 476250 h 476250"/>
              <a:gd name="connsiteX4" fmla="*/ 0 w 397441"/>
              <a:gd name="connsiteY4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441" h="476250">
                <a:moveTo>
                  <a:pt x="0" y="0"/>
                </a:moveTo>
                <a:lnTo>
                  <a:pt x="352839" y="0"/>
                </a:lnTo>
                <a:lnTo>
                  <a:pt x="397441" y="238125"/>
                </a:lnTo>
                <a:lnTo>
                  <a:pt x="352839" y="476250"/>
                </a:lnTo>
                <a:lnTo>
                  <a:pt x="0" y="476250"/>
                </a:lnTo>
              </a:path>
            </a:pathLst>
          </a:custGeom>
          <a:solidFill>
            <a:schemeClr val="bg1"/>
          </a:solidFill>
          <a:ln w="19050" cmpd="sng">
            <a:solidFill>
              <a:schemeClr val="dk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 lang="en-US" sz="1400"/>
          </a:p>
        </p:txBody>
      </p:sp>
      <p:pic>
        <p:nvPicPr>
          <p:cNvPr id="7" name="Picture 6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BEC6153A-CEED-4009-41B2-243002FF787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409" y="2907080"/>
            <a:ext cx="8867054" cy="57169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231F1D5-E969-6CAD-EB73-C1CF16576F01}"/>
              </a:ext>
            </a:extLst>
          </p:cNvPr>
          <p:cNvSpPr txBox="1"/>
          <p:nvPr/>
        </p:nvSpPr>
        <p:spPr>
          <a:xfrm>
            <a:off x="10890408" y="2022724"/>
            <a:ext cx="7381970" cy="69865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Font typeface="Arial,Sans-Serif" panose="020B0604020202020204" pitchFamily="34" charset="0"/>
              <a:buChar char="•"/>
            </a:pPr>
            <a:endParaRPr lang="en-US" sz="2800">
              <a:latin typeface="+mj-lt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en-US" sz="3200" b="1">
              <a:solidFill>
                <a:srgbClr val="293E6B"/>
              </a:solidFill>
              <a:ea typeface="+mn-lt"/>
              <a:cs typeface="+mn-lt"/>
            </a:endParaRPr>
          </a:p>
          <a:p>
            <a:r>
              <a:rPr lang="en-US" sz="3200" b="1">
                <a:solidFill>
                  <a:srgbClr val="293E6B"/>
                </a:solidFill>
                <a:ea typeface="+mn-lt"/>
                <a:cs typeface="+mn-lt"/>
              </a:rPr>
              <a:t>Key Insights:</a:t>
            </a:r>
            <a:endParaRPr lang="en-US"/>
          </a:p>
          <a:p>
            <a:endParaRPr lang="en-US" sz="3200"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en-US" sz="3200">
                <a:solidFill>
                  <a:srgbClr val="293E6B"/>
                </a:solidFill>
                <a:ea typeface="+mn-lt"/>
                <a:cs typeface="+mn-lt"/>
              </a:rPr>
              <a:t> Females showed higher brain connectivity early, peaking around ages 9-11.</a:t>
            </a:r>
          </a:p>
          <a:p>
            <a:pPr>
              <a:buFont typeface="Arial,Sans-Serif" panose="020B0604020202020204" pitchFamily="34" charset="0"/>
              <a:buChar char="•"/>
            </a:pPr>
            <a:r>
              <a:rPr lang="en-US" sz="3200">
                <a:solidFill>
                  <a:srgbClr val="293E6B"/>
                </a:solidFill>
                <a:ea typeface="+mn-lt"/>
                <a:cs typeface="+mn-lt"/>
              </a:rPr>
              <a:t> Males showed a slower increase with a lower peak around age 10-11.</a:t>
            </a:r>
          </a:p>
          <a:p>
            <a:pPr>
              <a:buFont typeface="Arial,Sans-Serif" panose="020B0604020202020204" pitchFamily="34" charset="0"/>
              <a:buChar char="•"/>
            </a:pPr>
            <a:r>
              <a:rPr lang="en-US" sz="3200">
                <a:solidFill>
                  <a:srgbClr val="293E6B"/>
                </a:solidFill>
                <a:ea typeface="+mn-lt"/>
                <a:cs typeface="+mn-lt"/>
              </a:rPr>
              <a:t> Both declined over time as the brain matures.</a:t>
            </a:r>
          </a:p>
          <a:p>
            <a:pPr>
              <a:buFont typeface="Arial,Sans-Serif" panose="020B0604020202020204" pitchFamily="34" charset="0"/>
              <a:buChar char="•"/>
            </a:pPr>
            <a:r>
              <a:rPr lang="en-US" sz="3200">
                <a:solidFill>
                  <a:srgbClr val="293E6B"/>
                </a:solidFill>
                <a:ea typeface="+mn-lt"/>
                <a:cs typeface="+mn-lt"/>
              </a:rPr>
              <a:t> Females showed more anxiety symptoms, while males experienced more attention and impulsivity challenges.</a:t>
            </a:r>
          </a:p>
          <a:p>
            <a:pPr>
              <a:buFont typeface="Arial,Sans-Serif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1583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6036D-96FC-7860-E886-69D610B32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15C82F-F6FE-032D-F1FB-AC3E9DB6FE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B15C82F-F6FE-032D-F1FB-AC3E9DB6FE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C6C97820-14C0-38B8-38DC-19CDEEF0845C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7CF01A9E-A218-344A-E8AA-C97FAAD2BCB0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5FC0C7A4-2D92-F281-7CCB-BA918715DD95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88BB804-B25F-57C5-7625-2F728E4AD22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0B471D97-0EF9-E74D-CD39-54C1A30F67E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EE73FE0E-5380-AB32-E939-23D5268EE80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4C585394-E668-5D30-EDB9-E038A4D9B7D6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Behavioral Differences Across Sexes</a:t>
            </a:r>
            <a:endParaRPr lang="en-US" sz="320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9FB12F0-E01C-62EA-07E9-519595AFAD47}"/>
              </a:ext>
            </a:extLst>
          </p:cNvPr>
          <p:cNvGrpSpPr/>
          <p:nvPr/>
        </p:nvGrpSpPr>
        <p:grpSpPr>
          <a:xfrm>
            <a:off x="2400130" y="2342922"/>
            <a:ext cx="13303650" cy="2163248"/>
            <a:chOff x="2492174" y="2683578"/>
            <a:chExt cx="13303650" cy="2163248"/>
          </a:xfrm>
        </p:grpSpPr>
        <p:sp>
          <p:nvSpPr>
            <p:cNvPr id="12" name="RbLeanShape Left U-Shape 2">
              <a:extLst>
                <a:ext uri="{FF2B5EF4-FFF2-40B4-BE49-F238E27FC236}">
                  <a16:creationId xmlns:a16="http://schemas.microsoft.com/office/drawing/2014/main" id="{641EA64F-F1FC-20AB-1EED-E01CC2F1EAD2}"/>
                </a:ext>
              </a:extLst>
            </p:cNvPr>
            <p:cNvSpPr>
              <a:spLocks/>
            </p:cNvSpPr>
            <p:nvPr/>
          </p:nvSpPr>
          <p:spPr>
            <a:xfrm>
              <a:off x="3554402" y="3890053"/>
              <a:ext cx="11179194" cy="956773"/>
            </a:xfrm>
            <a:custGeom>
              <a:avLst/>
              <a:gdLst>
                <a:gd name="connsiteX0" fmla="*/ 0 w 1270000"/>
                <a:gd name="connsiteY0" fmla="*/ 0 h 3175000"/>
                <a:gd name="connsiteX1" fmla="*/ 1270000 w 1270000"/>
                <a:gd name="connsiteY1" fmla="*/ 0 h 3175000"/>
                <a:gd name="connsiteX2" fmla="*/ 1270000 w 1270000"/>
                <a:gd name="connsiteY2" fmla="*/ 3175000 h 3175000"/>
                <a:gd name="connsiteX3" fmla="*/ 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0" y="0"/>
                  </a:moveTo>
                  <a:lnTo>
                    <a:pt x="1270000" y="0"/>
                  </a:lnTo>
                  <a:lnTo>
                    <a:pt x="1270000" y="3175000"/>
                  </a:lnTo>
                  <a:lnTo>
                    <a:pt x="0" y="3175000"/>
                  </a:lnTo>
                </a:path>
              </a:pathLst>
            </a:custGeom>
            <a:ln w="222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216000" rIns="0" bIns="0" rtlCol="0" anchor="ctr">
              <a:spAutoFit/>
            </a:bodyPr>
            <a:lstStyle/>
            <a:p>
              <a:pPr algn="ctr" fontAlgn="ctr"/>
              <a:r>
                <a:rPr lang="en-US" sz="2400" noProof="1"/>
                <a:t>T-statistic: -3.96 | P-value: 7.88e-05</a:t>
              </a:r>
            </a:p>
            <a:p>
              <a:pPr algn="ctr" fontAlgn="ctr"/>
              <a:r>
                <a:rPr lang="en-US" sz="2400" noProof="1">
                  <a:solidFill>
                    <a:schemeClr val="tx2"/>
                  </a:solidFill>
                </a:rPr>
                <a:t>Females exhibit more anxiety/depression symptoms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3E4BE32-78EB-9A67-EC64-1F325DBC45FC}"/>
                </a:ext>
              </a:extLst>
            </p:cNvPr>
            <p:cNvGrpSpPr/>
            <p:nvPr/>
          </p:nvGrpSpPr>
          <p:grpSpPr>
            <a:xfrm>
              <a:off x="2492174" y="3404368"/>
              <a:ext cx="13303650" cy="512448"/>
              <a:chOff x="2434559" y="3230888"/>
              <a:chExt cx="13303650" cy="512448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5D67DA0E-43B8-D250-CFB3-B1EF92E4C3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1810" y="3487112"/>
                <a:ext cx="13065061" cy="0"/>
              </a:xfrm>
              <a:prstGeom prst="line">
                <a:avLst/>
              </a:prstGeom>
              <a:ln w="6350" cmpd="sng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50329BF-B806-2239-045A-7AD5F69362E7}"/>
                  </a:ext>
                </a:extLst>
              </p:cNvPr>
              <p:cNvGrpSpPr/>
              <p:nvPr/>
            </p:nvGrpSpPr>
            <p:grpSpPr>
              <a:xfrm>
                <a:off x="6559933" y="3230888"/>
                <a:ext cx="4644458" cy="512448"/>
                <a:chOff x="6901684" y="3091216"/>
                <a:chExt cx="4644458" cy="512448"/>
              </a:xfrm>
            </p:grpSpPr>
            <p:sp>
              <p:nvSpPr>
                <p:cNvPr id="15" name="RbLeanShape Left U-Shape 2">
                  <a:extLst>
                    <a:ext uri="{FF2B5EF4-FFF2-40B4-BE49-F238E27FC236}">
                      <a16:creationId xmlns:a16="http://schemas.microsoft.com/office/drawing/2014/main" id="{DCA7ED06-0911-43CB-7D8F-70BA3E288B9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785114" y="3148158"/>
                  <a:ext cx="878120" cy="398571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square" lIns="0" tIns="0" rIns="0" bIns="0" rtlCol="0" anchor="ctr">
                  <a:spAutoFit/>
                </a:bodyPr>
                <a:lstStyle/>
                <a:p>
                  <a:pPr algn="ctr" fontAlgn="ctr">
                    <a:lnSpc>
                      <a:spcPct val="90000"/>
                    </a:lnSpc>
                  </a:pPr>
                  <a:r>
                    <a:rPr lang="en-US" sz="2800">
                      <a:solidFill>
                        <a:schemeClr val="bg1">
                          <a:lumMod val="50000"/>
                        </a:schemeClr>
                      </a:solidFill>
                    </a:rPr>
                    <a:t>vs.</a:t>
                  </a:r>
                  <a:endParaRPr lang="en-US" sz="2800" baseline="3000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6" name="RbLeanShape Left U-Shape 2">
                  <a:extLst>
                    <a:ext uri="{FF2B5EF4-FFF2-40B4-BE49-F238E27FC236}">
                      <a16:creationId xmlns:a16="http://schemas.microsoft.com/office/drawing/2014/main" id="{04103BE3-C989-3F12-6502-041D9C13912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40821" y="3091216"/>
                  <a:ext cx="1505321" cy="512448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none" lIns="108000" tIns="0" rIns="108000" bIns="0" rtlCol="0" anchor="ctr" anchorCtr="0">
                  <a:spAutoFit/>
                </a:bodyPr>
                <a:lstStyle/>
                <a:p>
                  <a:pPr fontAlgn="ctr">
                    <a:lnSpc>
                      <a:spcPct val="90000"/>
                    </a:lnSpc>
                  </a:pPr>
                  <a:r>
                    <a:rPr lang="en-US" sz="3600">
                      <a:solidFill>
                        <a:schemeClr val="accent2"/>
                      </a:solidFill>
                      <a:effectLst>
                        <a:outerShdw blurRad="12700" dist="50800" dir="2700000" algn="tl" rotWithShape="0">
                          <a:schemeClr val="bg1">
                            <a:alpha val="91000"/>
                          </a:schemeClr>
                        </a:outerShdw>
                      </a:effectLst>
                    </a:rPr>
                    <a:t>0.2581</a:t>
                  </a:r>
                </a:p>
              </p:txBody>
            </p:sp>
            <p:sp>
              <p:nvSpPr>
                <p:cNvPr id="17" name="RbLeanShape Left U-Shape 2">
                  <a:extLst>
                    <a:ext uri="{FF2B5EF4-FFF2-40B4-BE49-F238E27FC236}">
                      <a16:creationId xmlns:a16="http://schemas.microsoft.com/office/drawing/2014/main" id="{3F36A9D3-F247-50E7-83F7-318F4C697B4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901684" y="3091216"/>
                  <a:ext cx="1505321" cy="512448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none" lIns="108000" tIns="0" rIns="108000" bIns="0" rtlCol="0" anchor="ctr" anchorCtr="0">
                  <a:spAutoFit/>
                </a:bodyPr>
                <a:lstStyle/>
                <a:p>
                  <a:pPr algn="r" fontAlgn="ctr">
                    <a:lnSpc>
                      <a:spcPct val="90000"/>
                    </a:lnSpc>
                  </a:pPr>
                  <a:r>
                    <a:rPr lang="en-US" sz="3600">
                      <a:solidFill>
                        <a:schemeClr val="tx2"/>
                      </a:solidFill>
                      <a:effectLst>
                        <a:outerShdw blurRad="12700" dist="50800" dir="2700000" algn="tl" rotWithShape="0">
                          <a:schemeClr val="bg1">
                            <a:alpha val="91000"/>
                          </a:schemeClr>
                        </a:outerShdw>
                      </a:effectLst>
                    </a:rPr>
                    <a:t>0.0096</a:t>
                  </a:r>
                </a:p>
              </p:txBody>
            </p:sp>
          </p:grpSp>
          <p:sp>
            <p:nvSpPr>
              <p:cNvPr id="23" name="RbLeanShape Left U-Shape 2">
                <a:extLst>
                  <a:ext uri="{FF2B5EF4-FFF2-40B4-BE49-F238E27FC236}">
                    <a16:creationId xmlns:a16="http://schemas.microsoft.com/office/drawing/2014/main" id="{3FE5EE55-B51B-186C-85E6-1480B0B6F7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133823" y="3230888"/>
                <a:ext cx="1604386" cy="512448"/>
              </a:xfrm>
              <a:custGeom>
                <a:avLst/>
                <a:gdLst>
                  <a:gd name="connsiteX0" fmla="*/ 0 w 1270000"/>
                  <a:gd name="connsiteY0" fmla="*/ 0 h 3175000"/>
                  <a:gd name="connsiteX1" fmla="*/ 1270000 w 1270000"/>
                  <a:gd name="connsiteY1" fmla="*/ 0 h 3175000"/>
                  <a:gd name="connsiteX2" fmla="*/ 1270000 w 1270000"/>
                  <a:gd name="connsiteY2" fmla="*/ 3175000 h 3175000"/>
                  <a:gd name="connsiteX3" fmla="*/ 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0" y="0"/>
                    </a:moveTo>
                    <a:lnTo>
                      <a:pt x="1270000" y="0"/>
                    </a:lnTo>
                    <a:lnTo>
                      <a:pt x="1270000" y="3175000"/>
                    </a:lnTo>
                    <a:lnTo>
                      <a:pt x="0" y="3175000"/>
                    </a:lnTo>
                  </a:path>
                </a:pathLst>
              </a:custGeom>
              <a:solidFill>
                <a:schemeClr val="bg1"/>
              </a:solidFill>
              <a:ln w="222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none" lIns="108000" tIns="0" rIns="108000" bIns="0" rtlCol="0" anchor="ctr" anchorCtr="0">
                <a:spAutoFit/>
              </a:bodyPr>
              <a:lstStyle/>
              <a:p>
                <a:pPr fontAlgn="ctr">
                  <a:lnSpc>
                    <a:spcPct val="90000"/>
                  </a:lnSpc>
                </a:pPr>
                <a:r>
                  <a:rPr lang="en-US" sz="3600" b="1">
                    <a:solidFill>
                      <a:schemeClr val="accent2"/>
                    </a:solidFill>
                    <a:effectLst>
                      <a:outerShdw blurRad="12700" dist="50800" dir="2700000" algn="tl" rotWithShape="0">
                        <a:schemeClr val="bg1">
                          <a:alpha val="91000"/>
                        </a:schemeClr>
                      </a:outerShdw>
                    </a:effectLst>
                  </a:rPr>
                  <a:t>Female</a:t>
                </a:r>
              </a:p>
            </p:txBody>
          </p:sp>
          <p:sp>
            <p:nvSpPr>
              <p:cNvPr id="24" name="RbLeanShape Left U-Shape 2">
                <a:extLst>
                  <a:ext uri="{FF2B5EF4-FFF2-40B4-BE49-F238E27FC236}">
                    <a16:creationId xmlns:a16="http://schemas.microsoft.com/office/drawing/2014/main" id="{4C0409B2-BA15-67B4-F7D0-5313DF7C24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34559" y="3230888"/>
                <a:ext cx="1195941" cy="512448"/>
              </a:xfrm>
              <a:custGeom>
                <a:avLst/>
                <a:gdLst>
                  <a:gd name="connsiteX0" fmla="*/ 0 w 1270000"/>
                  <a:gd name="connsiteY0" fmla="*/ 0 h 3175000"/>
                  <a:gd name="connsiteX1" fmla="*/ 1270000 w 1270000"/>
                  <a:gd name="connsiteY1" fmla="*/ 0 h 3175000"/>
                  <a:gd name="connsiteX2" fmla="*/ 1270000 w 1270000"/>
                  <a:gd name="connsiteY2" fmla="*/ 3175000 h 3175000"/>
                  <a:gd name="connsiteX3" fmla="*/ 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0" y="0"/>
                    </a:moveTo>
                    <a:lnTo>
                      <a:pt x="1270000" y="0"/>
                    </a:lnTo>
                    <a:lnTo>
                      <a:pt x="1270000" y="3175000"/>
                    </a:lnTo>
                    <a:lnTo>
                      <a:pt x="0" y="3175000"/>
                    </a:lnTo>
                  </a:path>
                </a:pathLst>
              </a:custGeom>
              <a:solidFill>
                <a:schemeClr val="bg1"/>
              </a:solidFill>
              <a:ln w="222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none" lIns="108000" tIns="0" rIns="108000" bIns="0" rtlCol="0" anchor="ctr" anchorCtr="0">
                <a:spAutoFit/>
              </a:bodyPr>
              <a:lstStyle/>
              <a:p>
                <a:pPr algn="r" fontAlgn="ctr">
                  <a:lnSpc>
                    <a:spcPct val="90000"/>
                  </a:lnSpc>
                </a:pPr>
                <a:r>
                  <a:rPr lang="en-US" sz="3600" b="1">
                    <a:solidFill>
                      <a:schemeClr val="tx2"/>
                    </a:solidFill>
                    <a:effectLst>
                      <a:outerShdw blurRad="12700" dist="50800" dir="2700000" algn="tl" rotWithShape="0">
                        <a:schemeClr val="bg1">
                          <a:alpha val="91000"/>
                        </a:schemeClr>
                      </a:outerShdw>
                    </a:effectLst>
                  </a:rPr>
                  <a:t>Male</a:t>
                </a:r>
              </a:p>
            </p:txBody>
          </p:sp>
        </p:grpSp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5F6DE71E-71FB-17AB-9F1F-E4B8945ECFEC}"/>
                </a:ext>
              </a:extLst>
            </p:cNvPr>
            <p:cNvSpPr txBox="1">
              <a:spLocks/>
            </p:cNvSpPr>
            <p:nvPr/>
          </p:nvSpPr>
          <p:spPr>
            <a:xfrm>
              <a:off x="2519425" y="2683578"/>
              <a:ext cx="13249149" cy="721506"/>
            </a:xfrm>
            <a:prstGeom prst="rect">
              <a:avLst/>
            </a:prstGeom>
          </p:spPr>
          <p:txBody>
            <a:bodyPr vert="horz" lIns="91440" tIns="45720" rIns="91440" bIns="45720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2800" b="1">
                  <a:solidFill>
                    <a:srgbClr val="293E6B"/>
                  </a:solidFill>
                  <a:latin typeface="Roboto"/>
                  <a:ea typeface="Roboto"/>
                  <a:cs typeface="Roboto"/>
                </a:rPr>
                <a:t>Internalizing</a:t>
              </a:r>
              <a:endParaRPr lang="en-US" sz="2800" b="1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1C40F8-1623-1E52-3B05-CEB7C9D9EE95}"/>
              </a:ext>
            </a:extLst>
          </p:cNvPr>
          <p:cNvGrpSpPr/>
          <p:nvPr/>
        </p:nvGrpSpPr>
        <p:grpSpPr>
          <a:xfrm>
            <a:off x="2400130" y="4821553"/>
            <a:ext cx="13303650" cy="2149398"/>
            <a:chOff x="2492174" y="2683578"/>
            <a:chExt cx="13303650" cy="2149398"/>
          </a:xfrm>
        </p:grpSpPr>
        <p:sp>
          <p:nvSpPr>
            <p:cNvPr id="45" name="RbLeanShape Left U-Shape 2">
              <a:extLst>
                <a:ext uri="{FF2B5EF4-FFF2-40B4-BE49-F238E27FC236}">
                  <a16:creationId xmlns:a16="http://schemas.microsoft.com/office/drawing/2014/main" id="{5D722970-F71D-5709-1873-77CEBB3F7474}"/>
                </a:ext>
              </a:extLst>
            </p:cNvPr>
            <p:cNvSpPr>
              <a:spLocks/>
            </p:cNvSpPr>
            <p:nvPr/>
          </p:nvSpPr>
          <p:spPr>
            <a:xfrm>
              <a:off x="3554402" y="3903903"/>
              <a:ext cx="11179194" cy="929073"/>
            </a:xfrm>
            <a:custGeom>
              <a:avLst/>
              <a:gdLst>
                <a:gd name="connsiteX0" fmla="*/ 0 w 1270000"/>
                <a:gd name="connsiteY0" fmla="*/ 0 h 3175000"/>
                <a:gd name="connsiteX1" fmla="*/ 1270000 w 1270000"/>
                <a:gd name="connsiteY1" fmla="*/ 0 h 3175000"/>
                <a:gd name="connsiteX2" fmla="*/ 1270000 w 1270000"/>
                <a:gd name="connsiteY2" fmla="*/ 3175000 h 3175000"/>
                <a:gd name="connsiteX3" fmla="*/ 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0" y="0"/>
                  </a:moveTo>
                  <a:lnTo>
                    <a:pt x="1270000" y="0"/>
                  </a:lnTo>
                  <a:lnTo>
                    <a:pt x="1270000" y="3175000"/>
                  </a:lnTo>
                  <a:lnTo>
                    <a:pt x="0" y="3175000"/>
                  </a:lnTo>
                </a:path>
              </a:pathLst>
            </a:custGeom>
            <a:ln w="222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216000" rIns="0" bIns="0" rtlCol="0" anchor="ctr">
              <a:spAutoFit/>
            </a:bodyPr>
            <a:lstStyle/>
            <a:p>
              <a:pPr algn="ctr" fontAlgn="ctr"/>
              <a:r>
                <a:rPr lang="en-US" sz="2400" noProof="1"/>
                <a:t>T-statistic: 2.18 | P-value: 0.0293</a:t>
              </a:r>
            </a:p>
            <a:p>
              <a:pPr algn="ctr" fontAlgn="ctr">
                <a:lnSpc>
                  <a:spcPct val="90000"/>
                </a:lnSpc>
              </a:pPr>
              <a:r>
                <a:rPr lang="en-US" sz="2400" noProof="1">
                  <a:solidFill>
                    <a:schemeClr val="tx2"/>
                  </a:solidFill>
                </a:rPr>
                <a:t>Males show more impulsive, aggressive behavior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CFC901D-33B2-3C52-7D71-3C7FD9DA0489}"/>
                </a:ext>
              </a:extLst>
            </p:cNvPr>
            <p:cNvGrpSpPr/>
            <p:nvPr/>
          </p:nvGrpSpPr>
          <p:grpSpPr>
            <a:xfrm>
              <a:off x="2492174" y="3404368"/>
              <a:ext cx="13303650" cy="512448"/>
              <a:chOff x="2434559" y="3230888"/>
              <a:chExt cx="13303650" cy="512448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834D2C9-905D-CBE2-364C-36B495C228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1810" y="3487112"/>
                <a:ext cx="13065061" cy="0"/>
              </a:xfrm>
              <a:prstGeom prst="line">
                <a:avLst/>
              </a:prstGeom>
              <a:ln w="6350" cmpd="sng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19CCDE67-2B83-A81B-1CA7-4445D07303F9}"/>
                  </a:ext>
                </a:extLst>
              </p:cNvPr>
              <p:cNvGrpSpPr/>
              <p:nvPr/>
            </p:nvGrpSpPr>
            <p:grpSpPr>
              <a:xfrm>
                <a:off x="6559933" y="3230888"/>
                <a:ext cx="4644458" cy="512448"/>
                <a:chOff x="6901684" y="3091216"/>
                <a:chExt cx="4644458" cy="512448"/>
              </a:xfrm>
            </p:grpSpPr>
            <p:sp>
              <p:nvSpPr>
                <p:cNvPr id="52" name="RbLeanShape Left U-Shape 2">
                  <a:extLst>
                    <a:ext uri="{FF2B5EF4-FFF2-40B4-BE49-F238E27FC236}">
                      <a16:creationId xmlns:a16="http://schemas.microsoft.com/office/drawing/2014/main" id="{67C45025-B19C-EF92-4FF1-6E087BCC1C0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785114" y="3148158"/>
                  <a:ext cx="878120" cy="398571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square" lIns="0" tIns="0" rIns="0" bIns="0" rtlCol="0" anchor="ctr">
                  <a:spAutoFit/>
                </a:bodyPr>
                <a:lstStyle/>
                <a:p>
                  <a:pPr algn="ctr" fontAlgn="ctr">
                    <a:lnSpc>
                      <a:spcPct val="90000"/>
                    </a:lnSpc>
                  </a:pPr>
                  <a:r>
                    <a:rPr lang="en-US" sz="2800">
                      <a:solidFill>
                        <a:schemeClr val="bg1">
                          <a:lumMod val="50000"/>
                        </a:schemeClr>
                      </a:solidFill>
                    </a:rPr>
                    <a:t>vs.</a:t>
                  </a:r>
                  <a:endParaRPr lang="en-US" sz="2800" baseline="3000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53" name="RbLeanShape Left U-Shape 2">
                  <a:extLst>
                    <a:ext uri="{FF2B5EF4-FFF2-40B4-BE49-F238E27FC236}">
                      <a16:creationId xmlns:a16="http://schemas.microsoft.com/office/drawing/2014/main" id="{08C1D0F6-06BD-D238-E0D7-1350FBCD758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40821" y="3091216"/>
                  <a:ext cx="1505321" cy="512448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none" lIns="108000" tIns="0" rIns="108000" bIns="0" rtlCol="0" anchor="ctr" anchorCtr="0">
                  <a:spAutoFit/>
                </a:bodyPr>
                <a:lstStyle/>
                <a:p>
                  <a:pPr fontAlgn="ctr">
                    <a:lnSpc>
                      <a:spcPct val="90000"/>
                    </a:lnSpc>
                  </a:pPr>
                  <a:r>
                    <a:rPr lang="en-US" sz="3600">
                      <a:solidFill>
                        <a:schemeClr val="accent2"/>
                      </a:solidFill>
                      <a:effectLst>
                        <a:outerShdw blurRad="12700" dist="50800" dir="2700000" algn="tl" rotWithShape="0">
                          <a:schemeClr val="bg1">
                            <a:alpha val="91000"/>
                          </a:schemeClr>
                        </a:outerShdw>
                      </a:effectLst>
                    </a:rPr>
                    <a:t>0.0046</a:t>
                  </a:r>
                </a:p>
              </p:txBody>
            </p:sp>
            <p:sp>
              <p:nvSpPr>
                <p:cNvPr id="54" name="RbLeanShape Left U-Shape 2">
                  <a:extLst>
                    <a:ext uri="{FF2B5EF4-FFF2-40B4-BE49-F238E27FC236}">
                      <a16:creationId xmlns:a16="http://schemas.microsoft.com/office/drawing/2014/main" id="{36726304-BD78-1551-30E9-B73FCCAA86A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901684" y="3091216"/>
                  <a:ext cx="1505321" cy="512448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none" lIns="108000" tIns="0" rIns="108000" bIns="0" rtlCol="0" anchor="ctr" anchorCtr="0">
                  <a:spAutoFit/>
                </a:bodyPr>
                <a:lstStyle/>
                <a:p>
                  <a:pPr algn="r" fontAlgn="ctr">
                    <a:lnSpc>
                      <a:spcPct val="90000"/>
                    </a:lnSpc>
                  </a:pPr>
                  <a:r>
                    <a:rPr lang="en-US" sz="3600">
                      <a:solidFill>
                        <a:schemeClr val="tx2"/>
                      </a:solidFill>
                      <a:effectLst>
                        <a:outerShdw blurRad="12700" dist="50800" dir="2700000" algn="tl" rotWithShape="0">
                          <a:schemeClr val="bg1">
                            <a:alpha val="91000"/>
                          </a:schemeClr>
                        </a:outerShdw>
                      </a:effectLst>
                    </a:rPr>
                    <a:t>0.1494</a:t>
                  </a:r>
                </a:p>
              </p:txBody>
            </p:sp>
          </p:grpSp>
          <p:sp>
            <p:nvSpPr>
              <p:cNvPr id="50" name="RbLeanShape Left U-Shape 2">
                <a:extLst>
                  <a:ext uri="{FF2B5EF4-FFF2-40B4-BE49-F238E27FC236}">
                    <a16:creationId xmlns:a16="http://schemas.microsoft.com/office/drawing/2014/main" id="{7B560DA4-41A2-244B-3FB1-694AD4E3FE9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133823" y="3230888"/>
                <a:ext cx="1604386" cy="512448"/>
              </a:xfrm>
              <a:custGeom>
                <a:avLst/>
                <a:gdLst>
                  <a:gd name="connsiteX0" fmla="*/ 0 w 1270000"/>
                  <a:gd name="connsiteY0" fmla="*/ 0 h 3175000"/>
                  <a:gd name="connsiteX1" fmla="*/ 1270000 w 1270000"/>
                  <a:gd name="connsiteY1" fmla="*/ 0 h 3175000"/>
                  <a:gd name="connsiteX2" fmla="*/ 1270000 w 1270000"/>
                  <a:gd name="connsiteY2" fmla="*/ 3175000 h 3175000"/>
                  <a:gd name="connsiteX3" fmla="*/ 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0" y="0"/>
                    </a:moveTo>
                    <a:lnTo>
                      <a:pt x="1270000" y="0"/>
                    </a:lnTo>
                    <a:lnTo>
                      <a:pt x="1270000" y="3175000"/>
                    </a:lnTo>
                    <a:lnTo>
                      <a:pt x="0" y="3175000"/>
                    </a:lnTo>
                  </a:path>
                </a:pathLst>
              </a:custGeom>
              <a:solidFill>
                <a:schemeClr val="bg1"/>
              </a:solidFill>
              <a:ln w="222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none" lIns="108000" tIns="0" rIns="108000" bIns="0" rtlCol="0" anchor="ctr" anchorCtr="0">
                <a:spAutoFit/>
              </a:bodyPr>
              <a:lstStyle/>
              <a:p>
                <a:pPr fontAlgn="ctr">
                  <a:lnSpc>
                    <a:spcPct val="90000"/>
                  </a:lnSpc>
                </a:pPr>
                <a:r>
                  <a:rPr lang="en-US" sz="3600" b="1">
                    <a:solidFill>
                      <a:schemeClr val="accent2"/>
                    </a:solidFill>
                    <a:effectLst>
                      <a:outerShdw blurRad="12700" dist="50800" dir="2700000" algn="tl" rotWithShape="0">
                        <a:schemeClr val="bg1">
                          <a:alpha val="91000"/>
                        </a:schemeClr>
                      </a:outerShdw>
                    </a:effectLst>
                  </a:rPr>
                  <a:t>Female</a:t>
                </a:r>
              </a:p>
            </p:txBody>
          </p:sp>
          <p:sp>
            <p:nvSpPr>
              <p:cNvPr id="51" name="RbLeanShape Left U-Shape 2">
                <a:extLst>
                  <a:ext uri="{FF2B5EF4-FFF2-40B4-BE49-F238E27FC236}">
                    <a16:creationId xmlns:a16="http://schemas.microsoft.com/office/drawing/2014/main" id="{C71F4D55-9271-C635-10AF-0BDAD4E67E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34559" y="3230888"/>
                <a:ext cx="1195941" cy="512448"/>
              </a:xfrm>
              <a:custGeom>
                <a:avLst/>
                <a:gdLst>
                  <a:gd name="connsiteX0" fmla="*/ 0 w 1270000"/>
                  <a:gd name="connsiteY0" fmla="*/ 0 h 3175000"/>
                  <a:gd name="connsiteX1" fmla="*/ 1270000 w 1270000"/>
                  <a:gd name="connsiteY1" fmla="*/ 0 h 3175000"/>
                  <a:gd name="connsiteX2" fmla="*/ 1270000 w 1270000"/>
                  <a:gd name="connsiteY2" fmla="*/ 3175000 h 3175000"/>
                  <a:gd name="connsiteX3" fmla="*/ 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0" y="0"/>
                    </a:moveTo>
                    <a:lnTo>
                      <a:pt x="1270000" y="0"/>
                    </a:lnTo>
                    <a:lnTo>
                      <a:pt x="1270000" y="3175000"/>
                    </a:lnTo>
                    <a:lnTo>
                      <a:pt x="0" y="3175000"/>
                    </a:lnTo>
                  </a:path>
                </a:pathLst>
              </a:custGeom>
              <a:solidFill>
                <a:schemeClr val="bg1"/>
              </a:solidFill>
              <a:ln w="222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none" lIns="108000" tIns="0" rIns="108000" bIns="0" rtlCol="0" anchor="ctr" anchorCtr="0">
                <a:spAutoFit/>
              </a:bodyPr>
              <a:lstStyle/>
              <a:p>
                <a:pPr algn="r" fontAlgn="ctr">
                  <a:lnSpc>
                    <a:spcPct val="90000"/>
                  </a:lnSpc>
                </a:pPr>
                <a:r>
                  <a:rPr lang="en-US" sz="3600" b="1">
                    <a:solidFill>
                      <a:schemeClr val="tx2"/>
                    </a:solidFill>
                    <a:effectLst>
                      <a:outerShdw blurRad="12700" dist="50800" dir="2700000" algn="tl" rotWithShape="0">
                        <a:schemeClr val="bg1">
                          <a:alpha val="91000"/>
                        </a:schemeClr>
                      </a:outerShdw>
                    </a:effectLst>
                  </a:rPr>
                  <a:t>Male</a:t>
                </a:r>
              </a:p>
            </p:txBody>
          </p:sp>
        </p:grpSp>
        <p:sp>
          <p:nvSpPr>
            <p:cNvPr id="47" name="Title 5">
              <a:extLst>
                <a:ext uri="{FF2B5EF4-FFF2-40B4-BE49-F238E27FC236}">
                  <a16:creationId xmlns:a16="http://schemas.microsoft.com/office/drawing/2014/main" id="{F26AC988-693D-5A4D-802D-027110AB17ED}"/>
                </a:ext>
              </a:extLst>
            </p:cNvPr>
            <p:cNvSpPr txBox="1">
              <a:spLocks/>
            </p:cNvSpPr>
            <p:nvPr/>
          </p:nvSpPr>
          <p:spPr>
            <a:xfrm>
              <a:off x="2519425" y="2683578"/>
              <a:ext cx="13249149" cy="721506"/>
            </a:xfrm>
            <a:prstGeom prst="rect">
              <a:avLst/>
            </a:prstGeom>
          </p:spPr>
          <p:txBody>
            <a:bodyPr vert="horz" lIns="91440" tIns="45720" rIns="91440" bIns="45720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2800" b="1">
                  <a:solidFill>
                    <a:srgbClr val="293E6B"/>
                  </a:solidFill>
                  <a:latin typeface="Roboto"/>
                  <a:ea typeface="Roboto"/>
                  <a:cs typeface="Roboto"/>
                </a:rPr>
                <a:t>Externalizing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AAD8A12-DCE4-2037-05E6-546D1D8F7F3A}"/>
              </a:ext>
            </a:extLst>
          </p:cNvPr>
          <p:cNvGrpSpPr/>
          <p:nvPr/>
        </p:nvGrpSpPr>
        <p:grpSpPr>
          <a:xfrm>
            <a:off x="2400130" y="7300184"/>
            <a:ext cx="13303650" cy="2144781"/>
            <a:chOff x="2492174" y="2683578"/>
            <a:chExt cx="13303650" cy="2144781"/>
          </a:xfrm>
        </p:grpSpPr>
        <p:sp>
          <p:nvSpPr>
            <p:cNvPr id="56" name="RbLeanShape Left U-Shape 2">
              <a:extLst>
                <a:ext uri="{FF2B5EF4-FFF2-40B4-BE49-F238E27FC236}">
                  <a16:creationId xmlns:a16="http://schemas.microsoft.com/office/drawing/2014/main" id="{87631075-CB6B-F64D-237F-6A2F093677B3}"/>
                </a:ext>
              </a:extLst>
            </p:cNvPr>
            <p:cNvSpPr>
              <a:spLocks/>
            </p:cNvSpPr>
            <p:nvPr/>
          </p:nvSpPr>
          <p:spPr>
            <a:xfrm>
              <a:off x="3554402" y="3908519"/>
              <a:ext cx="11179194" cy="919840"/>
            </a:xfrm>
            <a:custGeom>
              <a:avLst/>
              <a:gdLst>
                <a:gd name="connsiteX0" fmla="*/ 0 w 1270000"/>
                <a:gd name="connsiteY0" fmla="*/ 0 h 3175000"/>
                <a:gd name="connsiteX1" fmla="*/ 1270000 w 1270000"/>
                <a:gd name="connsiteY1" fmla="*/ 0 h 3175000"/>
                <a:gd name="connsiteX2" fmla="*/ 1270000 w 1270000"/>
                <a:gd name="connsiteY2" fmla="*/ 3175000 h 3175000"/>
                <a:gd name="connsiteX3" fmla="*/ 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0" y="0"/>
                  </a:moveTo>
                  <a:lnTo>
                    <a:pt x="1270000" y="0"/>
                  </a:lnTo>
                  <a:lnTo>
                    <a:pt x="1270000" y="3175000"/>
                  </a:lnTo>
                  <a:lnTo>
                    <a:pt x="0" y="3175000"/>
                  </a:lnTo>
                </a:path>
              </a:pathLst>
            </a:custGeom>
            <a:ln w="222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0" tIns="216000" rIns="0" bIns="0" rtlCol="0" anchor="ctr">
              <a:spAutoFit/>
            </a:bodyPr>
            <a:lstStyle/>
            <a:p>
              <a:pPr algn="ctr" fontAlgn="ctr">
                <a:lnSpc>
                  <a:spcPct val="90000"/>
                </a:lnSpc>
              </a:pPr>
              <a:r>
                <a:rPr lang="en-US" sz="2400" noProof="1"/>
                <a:t>T-statistic: 6.12 | P-value: 1.27e-09</a:t>
              </a:r>
            </a:p>
            <a:p>
              <a:pPr algn="ctr" fontAlgn="ctr"/>
              <a:r>
                <a:rPr lang="en-US" sz="2400" noProof="1">
                  <a:solidFill>
                    <a:schemeClr val="tx2"/>
                  </a:solidFill>
                </a:rPr>
                <a:t>Males struggle more with inattention/hyperactivity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42A7F781-CEC3-B297-8D98-D365A5601711}"/>
                </a:ext>
              </a:extLst>
            </p:cNvPr>
            <p:cNvGrpSpPr/>
            <p:nvPr/>
          </p:nvGrpSpPr>
          <p:grpSpPr>
            <a:xfrm>
              <a:off x="2492174" y="3404368"/>
              <a:ext cx="13303650" cy="512448"/>
              <a:chOff x="2434559" y="3230888"/>
              <a:chExt cx="13303650" cy="512448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E0EBB933-58A3-8A90-E6D0-A0F0449413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1810" y="3487112"/>
                <a:ext cx="13065061" cy="0"/>
              </a:xfrm>
              <a:prstGeom prst="line">
                <a:avLst/>
              </a:prstGeom>
              <a:ln w="6350" cmpd="sng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36F7525B-AC10-3A38-B08D-1D31C0E87706}"/>
                  </a:ext>
                </a:extLst>
              </p:cNvPr>
              <p:cNvGrpSpPr/>
              <p:nvPr/>
            </p:nvGrpSpPr>
            <p:grpSpPr>
              <a:xfrm>
                <a:off x="6559933" y="3230888"/>
                <a:ext cx="4889717" cy="512448"/>
                <a:chOff x="6901684" y="3091216"/>
                <a:chExt cx="4889717" cy="512448"/>
              </a:xfrm>
            </p:grpSpPr>
            <p:sp>
              <p:nvSpPr>
                <p:cNvPr id="63" name="RbLeanShape Left U-Shape 2">
                  <a:extLst>
                    <a:ext uri="{FF2B5EF4-FFF2-40B4-BE49-F238E27FC236}">
                      <a16:creationId xmlns:a16="http://schemas.microsoft.com/office/drawing/2014/main" id="{0C663410-2D80-5D93-1032-31730937DEC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785114" y="3148158"/>
                  <a:ext cx="878120" cy="398571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square" lIns="0" tIns="0" rIns="0" bIns="0" rtlCol="0" anchor="ctr">
                  <a:spAutoFit/>
                </a:bodyPr>
                <a:lstStyle/>
                <a:p>
                  <a:pPr algn="ctr" fontAlgn="ctr">
                    <a:lnSpc>
                      <a:spcPct val="90000"/>
                    </a:lnSpc>
                  </a:pPr>
                  <a:r>
                    <a:rPr lang="en-US" sz="2800">
                      <a:solidFill>
                        <a:schemeClr val="bg1">
                          <a:lumMod val="50000"/>
                        </a:schemeClr>
                      </a:solidFill>
                    </a:rPr>
                    <a:t>vs.</a:t>
                  </a:r>
                  <a:endParaRPr lang="en-US" sz="2800" baseline="30000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64" name="RbLeanShape Left U-Shape 2">
                  <a:extLst>
                    <a:ext uri="{FF2B5EF4-FFF2-40B4-BE49-F238E27FC236}">
                      <a16:creationId xmlns:a16="http://schemas.microsoft.com/office/drawing/2014/main" id="{2246EC4D-F865-F9C9-5388-BE48046FFCF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40821" y="3091216"/>
                  <a:ext cx="1750580" cy="512448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none" lIns="108000" tIns="0" rIns="108000" bIns="0" rtlCol="0" anchor="ctr" anchorCtr="0">
                  <a:spAutoFit/>
                </a:bodyPr>
                <a:lstStyle/>
                <a:p>
                  <a:pPr fontAlgn="ctr">
                    <a:lnSpc>
                      <a:spcPct val="90000"/>
                    </a:lnSpc>
                  </a:pPr>
                  <a:r>
                    <a:rPr lang="en-US" sz="3600">
                      <a:solidFill>
                        <a:schemeClr val="accent2"/>
                      </a:solidFill>
                      <a:effectLst>
                        <a:outerShdw blurRad="12700" dist="50800" dir="2700000" algn="tl" rotWithShape="0">
                          <a:schemeClr val="bg1">
                            <a:alpha val="91000"/>
                          </a:schemeClr>
                        </a:outerShdw>
                      </a:effectLst>
                    </a:rPr>
                    <a:t>- 0.1529</a:t>
                  </a:r>
                </a:p>
              </p:txBody>
            </p:sp>
            <p:sp>
              <p:nvSpPr>
                <p:cNvPr id="65" name="RbLeanShape Left U-Shape 2">
                  <a:extLst>
                    <a:ext uri="{FF2B5EF4-FFF2-40B4-BE49-F238E27FC236}">
                      <a16:creationId xmlns:a16="http://schemas.microsoft.com/office/drawing/2014/main" id="{B4A00529-C3B3-7C72-3087-29FEC688542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901684" y="3091216"/>
                  <a:ext cx="1505321" cy="512448"/>
                </a:xfrm>
                <a:custGeom>
                  <a:avLst/>
                  <a:gdLst>
                    <a:gd name="connsiteX0" fmla="*/ 0 w 1270000"/>
                    <a:gd name="connsiteY0" fmla="*/ 0 h 3175000"/>
                    <a:gd name="connsiteX1" fmla="*/ 1270000 w 1270000"/>
                    <a:gd name="connsiteY1" fmla="*/ 0 h 3175000"/>
                    <a:gd name="connsiteX2" fmla="*/ 1270000 w 1270000"/>
                    <a:gd name="connsiteY2" fmla="*/ 3175000 h 3175000"/>
                    <a:gd name="connsiteX3" fmla="*/ 0 w 1270000"/>
                    <a:gd name="connsiteY3" fmla="*/ 3175000 h 317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70000" h="3175000">
                      <a:moveTo>
                        <a:pt x="0" y="0"/>
                      </a:moveTo>
                      <a:lnTo>
                        <a:pt x="1270000" y="0"/>
                      </a:lnTo>
                      <a:lnTo>
                        <a:pt x="1270000" y="3175000"/>
                      </a:lnTo>
                      <a:lnTo>
                        <a:pt x="0" y="3175000"/>
                      </a:lnTo>
                    </a:path>
                  </a:pathLst>
                </a:custGeom>
                <a:solidFill>
                  <a:schemeClr val="bg1"/>
                </a:solidFill>
                <a:ln w="222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vert="horz" wrap="none" lIns="108000" tIns="0" rIns="108000" bIns="0" rtlCol="0" anchor="ctr" anchorCtr="0">
                  <a:spAutoFit/>
                </a:bodyPr>
                <a:lstStyle/>
                <a:p>
                  <a:pPr algn="r" fontAlgn="ctr">
                    <a:lnSpc>
                      <a:spcPct val="90000"/>
                    </a:lnSpc>
                  </a:pPr>
                  <a:r>
                    <a:rPr lang="en-US" sz="3600">
                      <a:solidFill>
                        <a:schemeClr val="tx2"/>
                      </a:solidFill>
                      <a:effectLst>
                        <a:outerShdw blurRad="12700" dist="50800" dir="2700000" algn="tl" rotWithShape="0">
                          <a:schemeClr val="bg1">
                            <a:alpha val="91000"/>
                          </a:schemeClr>
                        </a:outerShdw>
                      </a:effectLst>
                    </a:rPr>
                    <a:t>0.2195</a:t>
                  </a:r>
                </a:p>
              </p:txBody>
            </p:sp>
          </p:grpSp>
          <p:sp>
            <p:nvSpPr>
              <p:cNvPr id="61" name="RbLeanShape Left U-Shape 2">
                <a:extLst>
                  <a:ext uri="{FF2B5EF4-FFF2-40B4-BE49-F238E27FC236}">
                    <a16:creationId xmlns:a16="http://schemas.microsoft.com/office/drawing/2014/main" id="{C3FCAFD7-ED93-E233-AF87-7812ED9754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133823" y="3230888"/>
                <a:ext cx="1604386" cy="512448"/>
              </a:xfrm>
              <a:custGeom>
                <a:avLst/>
                <a:gdLst>
                  <a:gd name="connsiteX0" fmla="*/ 0 w 1270000"/>
                  <a:gd name="connsiteY0" fmla="*/ 0 h 3175000"/>
                  <a:gd name="connsiteX1" fmla="*/ 1270000 w 1270000"/>
                  <a:gd name="connsiteY1" fmla="*/ 0 h 3175000"/>
                  <a:gd name="connsiteX2" fmla="*/ 1270000 w 1270000"/>
                  <a:gd name="connsiteY2" fmla="*/ 3175000 h 3175000"/>
                  <a:gd name="connsiteX3" fmla="*/ 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0" y="0"/>
                    </a:moveTo>
                    <a:lnTo>
                      <a:pt x="1270000" y="0"/>
                    </a:lnTo>
                    <a:lnTo>
                      <a:pt x="1270000" y="3175000"/>
                    </a:lnTo>
                    <a:lnTo>
                      <a:pt x="0" y="3175000"/>
                    </a:lnTo>
                  </a:path>
                </a:pathLst>
              </a:custGeom>
              <a:solidFill>
                <a:schemeClr val="bg1"/>
              </a:solidFill>
              <a:ln w="222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none" lIns="108000" tIns="0" rIns="108000" bIns="0" rtlCol="0" anchor="ctr" anchorCtr="0">
                <a:spAutoFit/>
              </a:bodyPr>
              <a:lstStyle/>
              <a:p>
                <a:pPr fontAlgn="ctr">
                  <a:lnSpc>
                    <a:spcPct val="90000"/>
                  </a:lnSpc>
                </a:pPr>
                <a:r>
                  <a:rPr lang="en-US" sz="3600" b="1">
                    <a:solidFill>
                      <a:schemeClr val="accent2"/>
                    </a:solidFill>
                    <a:effectLst>
                      <a:outerShdw blurRad="12700" dist="50800" dir="2700000" algn="tl" rotWithShape="0">
                        <a:schemeClr val="bg1">
                          <a:alpha val="91000"/>
                        </a:schemeClr>
                      </a:outerShdw>
                    </a:effectLst>
                  </a:rPr>
                  <a:t>Female</a:t>
                </a:r>
              </a:p>
            </p:txBody>
          </p:sp>
          <p:sp>
            <p:nvSpPr>
              <p:cNvPr id="62" name="RbLeanShape Left U-Shape 2">
                <a:extLst>
                  <a:ext uri="{FF2B5EF4-FFF2-40B4-BE49-F238E27FC236}">
                    <a16:creationId xmlns:a16="http://schemas.microsoft.com/office/drawing/2014/main" id="{F0CD0C32-BBB8-88E4-7F55-7C40319DB1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34559" y="3230888"/>
                <a:ext cx="1195941" cy="512448"/>
              </a:xfrm>
              <a:custGeom>
                <a:avLst/>
                <a:gdLst>
                  <a:gd name="connsiteX0" fmla="*/ 0 w 1270000"/>
                  <a:gd name="connsiteY0" fmla="*/ 0 h 3175000"/>
                  <a:gd name="connsiteX1" fmla="*/ 1270000 w 1270000"/>
                  <a:gd name="connsiteY1" fmla="*/ 0 h 3175000"/>
                  <a:gd name="connsiteX2" fmla="*/ 1270000 w 1270000"/>
                  <a:gd name="connsiteY2" fmla="*/ 3175000 h 3175000"/>
                  <a:gd name="connsiteX3" fmla="*/ 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0" y="0"/>
                    </a:moveTo>
                    <a:lnTo>
                      <a:pt x="1270000" y="0"/>
                    </a:lnTo>
                    <a:lnTo>
                      <a:pt x="1270000" y="3175000"/>
                    </a:lnTo>
                    <a:lnTo>
                      <a:pt x="0" y="3175000"/>
                    </a:lnTo>
                  </a:path>
                </a:pathLst>
              </a:custGeom>
              <a:solidFill>
                <a:schemeClr val="bg1"/>
              </a:solidFill>
              <a:ln w="222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none" lIns="108000" tIns="0" rIns="108000" bIns="0" rtlCol="0" anchor="ctr" anchorCtr="0">
                <a:spAutoFit/>
              </a:bodyPr>
              <a:lstStyle/>
              <a:p>
                <a:pPr algn="r" fontAlgn="ctr">
                  <a:lnSpc>
                    <a:spcPct val="90000"/>
                  </a:lnSpc>
                </a:pPr>
                <a:r>
                  <a:rPr lang="en-US" sz="3600" b="1">
                    <a:solidFill>
                      <a:schemeClr val="tx2"/>
                    </a:solidFill>
                    <a:effectLst>
                      <a:outerShdw blurRad="12700" dist="50800" dir="2700000" algn="tl" rotWithShape="0">
                        <a:schemeClr val="bg1">
                          <a:alpha val="91000"/>
                        </a:schemeClr>
                      </a:outerShdw>
                    </a:effectLst>
                  </a:rPr>
                  <a:t>Male</a:t>
                </a:r>
              </a:p>
            </p:txBody>
          </p:sp>
        </p:grpSp>
        <p:sp>
          <p:nvSpPr>
            <p:cNvPr id="58" name="Title 5">
              <a:extLst>
                <a:ext uri="{FF2B5EF4-FFF2-40B4-BE49-F238E27FC236}">
                  <a16:creationId xmlns:a16="http://schemas.microsoft.com/office/drawing/2014/main" id="{8CD7D5E6-CCF5-BFA4-DA90-4ACD6911BC26}"/>
                </a:ext>
              </a:extLst>
            </p:cNvPr>
            <p:cNvSpPr txBox="1">
              <a:spLocks/>
            </p:cNvSpPr>
            <p:nvPr/>
          </p:nvSpPr>
          <p:spPr>
            <a:xfrm>
              <a:off x="2519425" y="2683578"/>
              <a:ext cx="13249149" cy="721506"/>
            </a:xfrm>
            <a:prstGeom prst="rect">
              <a:avLst/>
            </a:prstGeom>
          </p:spPr>
          <p:txBody>
            <a:bodyPr vert="horz" lIns="91440" tIns="45720" rIns="91440" bIns="45720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2800" b="1">
                  <a:solidFill>
                    <a:srgbClr val="293E6B"/>
                  </a:solidFill>
                  <a:latin typeface="Roboto"/>
                  <a:ea typeface="Roboto"/>
                  <a:cs typeface="Roboto"/>
                </a:rPr>
                <a:t>Attention Fac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43748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49A59-A546-CDC5-D7E2-223418834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99D8B6A9-6F44-22D6-7F96-6C62740D657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715255" y="2649872"/>
            <a:ext cx="8867054" cy="62855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US" sz="1600" b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D055F6-3768-C5DB-356C-9328E17AF7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D055F6-3768-C5DB-356C-9328E17AF73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75DB6FEC-2951-B3E9-335E-A8AB59CA98C7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1344808D-0BF2-C269-39C9-9EECC2F35D06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CAA4AF14-7CBC-222A-2725-3D7E1EC8895E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DD7BDF1-1705-6BB5-EFC3-1938BD049AF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3E8B66F7-DE4A-E155-2593-12CC1FEFFA0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202EBF24-28C8-99C5-612E-958F7A27C76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FF843F33-B325-04E6-2D0F-0CE7FC785621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ea typeface="+mj-lt"/>
                <a:cs typeface="+mj-lt"/>
              </a:rPr>
              <a:t>Behavioral Impact of Brain Connectivity Differences</a:t>
            </a:r>
            <a:endParaRPr lang="en-US">
              <a:solidFill>
                <a:srgbClr val="293E6B"/>
              </a:solidFill>
            </a:endParaRPr>
          </a:p>
          <a:p>
            <a:pPr algn="l"/>
            <a:endParaRPr lang="en-US"/>
          </a:p>
        </p:txBody>
      </p:sp>
      <p:sp>
        <p:nvSpPr>
          <p:cNvPr id="15" name="RbLeanShape Arrow Option 1 26">
            <a:extLst>
              <a:ext uri="{FF2B5EF4-FFF2-40B4-BE49-F238E27FC236}">
                <a16:creationId xmlns:a16="http://schemas.microsoft.com/office/drawing/2014/main" id="{E13A184D-D56C-B91C-3557-420E793DA6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7988" y="2351623"/>
            <a:ext cx="10432817" cy="6882023"/>
          </a:xfrm>
          <a:custGeom>
            <a:avLst/>
            <a:gdLst>
              <a:gd name="connsiteX0" fmla="*/ 0 w 635000"/>
              <a:gd name="connsiteY0" fmla="*/ 0 h 476250"/>
              <a:gd name="connsiteX1" fmla="*/ 352839 w 635000"/>
              <a:gd name="connsiteY1" fmla="*/ 0 h 476250"/>
              <a:gd name="connsiteX2" fmla="*/ 635000 w 635000"/>
              <a:gd name="connsiteY2" fmla="*/ 238125 h 476250"/>
              <a:gd name="connsiteX3" fmla="*/ 352839 w 635000"/>
              <a:gd name="connsiteY3" fmla="*/ 476250 h 476250"/>
              <a:gd name="connsiteX4" fmla="*/ 0 w 635000"/>
              <a:gd name="connsiteY4" fmla="*/ 476250 h 476250"/>
              <a:gd name="connsiteX0" fmla="*/ 0 w 627784"/>
              <a:gd name="connsiteY0" fmla="*/ 0 h 476250"/>
              <a:gd name="connsiteX1" fmla="*/ 352839 w 627784"/>
              <a:gd name="connsiteY1" fmla="*/ 0 h 476250"/>
              <a:gd name="connsiteX2" fmla="*/ 627784 w 627784"/>
              <a:gd name="connsiteY2" fmla="*/ 238125 h 476250"/>
              <a:gd name="connsiteX3" fmla="*/ 352839 w 627784"/>
              <a:gd name="connsiteY3" fmla="*/ 476250 h 476250"/>
              <a:gd name="connsiteX4" fmla="*/ 0 w 627784"/>
              <a:gd name="connsiteY4" fmla="*/ 476250 h 476250"/>
              <a:gd name="connsiteX0" fmla="*/ 0 w 620650"/>
              <a:gd name="connsiteY0" fmla="*/ 0 h 476250"/>
              <a:gd name="connsiteX1" fmla="*/ 352839 w 620650"/>
              <a:gd name="connsiteY1" fmla="*/ 0 h 476250"/>
              <a:gd name="connsiteX2" fmla="*/ 620650 w 620650"/>
              <a:gd name="connsiteY2" fmla="*/ 238125 h 476250"/>
              <a:gd name="connsiteX3" fmla="*/ 352839 w 620650"/>
              <a:gd name="connsiteY3" fmla="*/ 476250 h 476250"/>
              <a:gd name="connsiteX4" fmla="*/ 0 w 620650"/>
              <a:gd name="connsiteY4" fmla="*/ 476250 h 476250"/>
              <a:gd name="connsiteX0" fmla="*/ 0 w 613597"/>
              <a:gd name="connsiteY0" fmla="*/ 0 h 476250"/>
              <a:gd name="connsiteX1" fmla="*/ 352839 w 613597"/>
              <a:gd name="connsiteY1" fmla="*/ 0 h 476250"/>
              <a:gd name="connsiteX2" fmla="*/ 613597 w 613597"/>
              <a:gd name="connsiteY2" fmla="*/ 238125 h 476250"/>
              <a:gd name="connsiteX3" fmla="*/ 352839 w 613597"/>
              <a:gd name="connsiteY3" fmla="*/ 476250 h 476250"/>
              <a:gd name="connsiteX4" fmla="*/ 0 w 613597"/>
              <a:gd name="connsiteY4" fmla="*/ 476250 h 476250"/>
              <a:gd name="connsiteX0" fmla="*/ 0 w 606624"/>
              <a:gd name="connsiteY0" fmla="*/ 0 h 476250"/>
              <a:gd name="connsiteX1" fmla="*/ 352839 w 606624"/>
              <a:gd name="connsiteY1" fmla="*/ 0 h 476250"/>
              <a:gd name="connsiteX2" fmla="*/ 606624 w 606624"/>
              <a:gd name="connsiteY2" fmla="*/ 238125 h 476250"/>
              <a:gd name="connsiteX3" fmla="*/ 352839 w 606624"/>
              <a:gd name="connsiteY3" fmla="*/ 476250 h 476250"/>
              <a:gd name="connsiteX4" fmla="*/ 0 w 606624"/>
              <a:gd name="connsiteY4" fmla="*/ 476250 h 476250"/>
              <a:gd name="connsiteX0" fmla="*/ 0 w 599731"/>
              <a:gd name="connsiteY0" fmla="*/ 0 h 476250"/>
              <a:gd name="connsiteX1" fmla="*/ 352839 w 599731"/>
              <a:gd name="connsiteY1" fmla="*/ 0 h 476250"/>
              <a:gd name="connsiteX2" fmla="*/ 599731 w 599731"/>
              <a:gd name="connsiteY2" fmla="*/ 238125 h 476250"/>
              <a:gd name="connsiteX3" fmla="*/ 352839 w 599731"/>
              <a:gd name="connsiteY3" fmla="*/ 476250 h 476250"/>
              <a:gd name="connsiteX4" fmla="*/ 0 w 599731"/>
              <a:gd name="connsiteY4" fmla="*/ 476250 h 476250"/>
              <a:gd name="connsiteX0" fmla="*/ 0 w 592916"/>
              <a:gd name="connsiteY0" fmla="*/ 0 h 476250"/>
              <a:gd name="connsiteX1" fmla="*/ 352839 w 592916"/>
              <a:gd name="connsiteY1" fmla="*/ 0 h 476250"/>
              <a:gd name="connsiteX2" fmla="*/ 592916 w 592916"/>
              <a:gd name="connsiteY2" fmla="*/ 238125 h 476250"/>
              <a:gd name="connsiteX3" fmla="*/ 352839 w 592916"/>
              <a:gd name="connsiteY3" fmla="*/ 476250 h 476250"/>
              <a:gd name="connsiteX4" fmla="*/ 0 w 592916"/>
              <a:gd name="connsiteY4" fmla="*/ 476250 h 476250"/>
              <a:gd name="connsiteX0" fmla="*/ 0 w 586178"/>
              <a:gd name="connsiteY0" fmla="*/ 0 h 476250"/>
              <a:gd name="connsiteX1" fmla="*/ 352839 w 586178"/>
              <a:gd name="connsiteY1" fmla="*/ 0 h 476250"/>
              <a:gd name="connsiteX2" fmla="*/ 586178 w 586178"/>
              <a:gd name="connsiteY2" fmla="*/ 238125 h 476250"/>
              <a:gd name="connsiteX3" fmla="*/ 352839 w 586178"/>
              <a:gd name="connsiteY3" fmla="*/ 476250 h 476250"/>
              <a:gd name="connsiteX4" fmla="*/ 0 w 586178"/>
              <a:gd name="connsiteY4" fmla="*/ 476250 h 476250"/>
              <a:gd name="connsiteX0" fmla="*/ 0 w 579517"/>
              <a:gd name="connsiteY0" fmla="*/ 0 h 476250"/>
              <a:gd name="connsiteX1" fmla="*/ 352839 w 579517"/>
              <a:gd name="connsiteY1" fmla="*/ 0 h 476250"/>
              <a:gd name="connsiteX2" fmla="*/ 579517 w 579517"/>
              <a:gd name="connsiteY2" fmla="*/ 238125 h 476250"/>
              <a:gd name="connsiteX3" fmla="*/ 352839 w 579517"/>
              <a:gd name="connsiteY3" fmla="*/ 476250 h 476250"/>
              <a:gd name="connsiteX4" fmla="*/ 0 w 579517"/>
              <a:gd name="connsiteY4" fmla="*/ 476250 h 476250"/>
              <a:gd name="connsiteX0" fmla="*/ 0 w 572932"/>
              <a:gd name="connsiteY0" fmla="*/ 0 h 476250"/>
              <a:gd name="connsiteX1" fmla="*/ 352839 w 572932"/>
              <a:gd name="connsiteY1" fmla="*/ 0 h 476250"/>
              <a:gd name="connsiteX2" fmla="*/ 572932 w 572932"/>
              <a:gd name="connsiteY2" fmla="*/ 238125 h 476250"/>
              <a:gd name="connsiteX3" fmla="*/ 352839 w 572932"/>
              <a:gd name="connsiteY3" fmla="*/ 476250 h 476250"/>
              <a:gd name="connsiteX4" fmla="*/ 0 w 572932"/>
              <a:gd name="connsiteY4" fmla="*/ 476250 h 476250"/>
              <a:gd name="connsiteX0" fmla="*/ 0 w 566421"/>
              <a:gd name="connsiteY0" fmla="*/ 0 h 476250"/>
              <a:gd name="connsiteX1" fmla="*/ 352839 w 566421"/>
              <a:gd name="connsiteY1" fmla="*/ 0 h 476250"/>
              <a:gd name="connsiteX2" fmla="*/ 566421 w 566421"/>
              <a:gd name="connsiteY2" fmla="*/ 238125 h 476250"/>
              <a:gd name="connsiteX3" fmla="*/ 352839 w 566421"/>
              <a:gd name="connsiteY3" fmla="*/ 476250 h 476250"/>
              <a:gd name="connsiteX4" fmla="*/ 0 w 566421"/>
              <a:gd name="connsiteY4" fmla="*/ 476250 h 476250"/>
              <a:gd name="connsiteX0" fmla="*/ 0 w 559984"/>
              <a:gd name="connsiteY0" fmla="*/ 0 h 476250"/>
              <a:gd name="connsiteX1" fmla="*/ 352839 w 559984"/>
              <a:gd name="connsiteY1" fmla="*/ 0 h 476250"/>
              <a:gd name="connsiteX2" fmla="*/ 559984 w 559984"/>
              <a:gd name="connsiteY2" fmla="*/ 238125 h 476250"/>
              <a:gd name="connsiteX3" fmla="*/ 352839 w 559984"/>
              <a:gd name="connsiteY3" fmla="*/ 476250 h 476250"/>
              <a:gd name="connsiteX4" fmla="*/ 0 w 559984"/>
              <a:gd name="connsiteY4" fmla="*/ 476250 h 476250"/>
              <a:gd name="connsiteX0" fmla="*/ 0 w 553621"/>
              <a:gd name="connsiteY0" fmla="*/ 0 h 476250"/>
              <a:gd name="connsiteX1" fmla="*/ 352839 w 553621"/>
              <a:gd name="connsiteY1" fmla="*/ 0 h 476250"/>
              <a:gd name="connsiteX2" fmla="*/ 553621 w 553621"/>
              <a:gd name="connsiteY2" fmla="*/ 238125 h 476250"/>
              <a:gd name="connsiteX3" fmla="*/ 352839 w 553621"/>
              <a:gd name="connsiteY3" fmla="*/ 476250 h 476250"/>
              <a:gd name="connsiteX4" fmla="*/ 0 w 553621"/>
              <a:gd name="connsiteY4" fmla="*/ 476250 h 476250"/>
              <a:gd name="connsiteX0" fmla="*/ 0 w 547330"/>
              <a:gd name="connsiteY0" fmla="*/ 0 h 476250"/>
              <a:gd name="connsiteX1" fmla="*/ 352839 w 547330"/>
              <a:gd name="connsiteY1" fmla="*/ 0 h 476250"/>
              <a:gd name="connsiteX2" fmla="*/ 547330 w 547330"/>
              <a:gd name="connsiteY2" fmla="*/ 238125 h 476250"/>
              <a:gd name="connsiteX3" fmla="*/ 352839 w 547330"/>
              <a:gd name="connsiteY3" fmla="*/ 476250 h 476250"/>
              <a:gd name="connsiteX4" fmla="*/ 0 w 547330"/>
              <a:gd name="connsiteY4" fmla="*/ 476250 h 476250"/>
              <a:gd name="connsiteX0" fmla="*/ 0 w 541110"/>
              <a:gd name="connsiteY0" fmla="*/ 0 h 476250"/>
              <a:gd name="connsiteX1" fmla="*/ 352839 w 541110"/>
              <a:gd name="connsiteY1" fmla="*/ 0 h 476250"/>
              <a:gd name="connsiteX2" fmla="*/ 541110 w 541110"/>
              <a:gd name="connsiteY2" fmla="*/ 238125 h 476250"/>
              <a:gd name="connsiteX3" fmla="*/ 352839 w 541110"/>
              <a:gd name="connsiteY3" fmla="*/ 476250 h 476250"/>
              <a:gd name="connsiteX4" fmla="*/ 0 w 541110"/>
              <a:gd name="connsiteY4" fmla="*/ 476250 h 476250"/>
              <a:gd name="connsiteX0" fmla="*/ 0 w 534961"/>
              <a:gd name="connsiteY0" fmla="*/ 0 h 476250"/>
              <a:gd name="connsiteX1" fmla="*/ 352839 w 534961"/>
              <a:gd name="connsiteY1" fmla="*/ 0 h 476250"/>
              <a:gd name="connsiteX2" fmla="*/ 534961 w 534961"/>
              <a:gd name="connsiteY2" fmla="*/ 238125 h 476250"/>
              <a:gd name="connsiteX3" fmla="*/ 352839 w 534961"/>
              <a:gd name="connsiteY3" fmla="*/ 476250 h 476250"/>
              <a:gd name="connsiteX4" fmla="*/ 0 w 534961"/>
              <a:gd name="connsiteY4" fmla="*/ 476250 h 476250"/>
              <a:gd name="connsiteX0" fmla="*/ 0 w 528882"/>
              <a:gd name="connsiteY0" fmla="*/ 0 h 476250"/>
              <a:gd name="connsiteX1" fmla="*/ 352839 w 528882"/>
              <a:gd name="connsiteY1" fmla="*/ 0 h 476250"/>
              <a:gd name="connsiteX2" fmla="*/ 528882 w 528882"/>
              <a:gd name="connsiteY2" fmla="*/ 238125 h 476250"/>
              <a:gd name="connsiteX3" fmla="*/ 352839 w 528882"/>
              <a:gd name="connsiteY3" fmla="*/ 476250 h 476250"/>
              <a:gd name="connsiteX4" fmla="*/ 0 w 528882"/>
              <a:gd name="connsiteY4" fmla="*/ 476250 h 476250"/>
              <a:gd name="connsiteX0" fmla="*/ 0 w 522872"/>
              <a:gd name="connsiteY0" fmla="*/ 0 h 476250"/>
              <a:gd name="connsiteX1" fmla="*/ 352839 w 522872"/>
              <a:gd name="connsiteY1" fmla="*/ 0 h 476250"/>
              <a:gd name="connsiteX2" fmla="*/ 522872 w 522872"/>
              <a:gd name="connsiteY2" fmla="*/ 238125 h 476250"/>
              <a:gd name="connsiteX3" fmla="*/ 352839 w 522872"/>
              <a:gd name="connsiteY3" fmla="*/ 476250 h 476250"/>
              <a:gd name="connsiteX4" fmla="*/ 0 w 522872"/>
              <a:gd name="connsiteY4" fmla="*/ 476250 h 476250"/>
              <a:gd name="connsiteX0" fmla="*/ 0 w 516930"/>
              <a:gd name="connsiteY0" fmla="*/ 0 h 476250"/>
              <a:gd name="connsiteX1" fmla="*/ 352839 w 516930"/>
              <a:gd name="connsiteY1" fmla="*/ 0 h 476250"/>
              <a:gd name="connsiteX2" fmla="*/ 516930 w 516930"/>
              <a:gd name="connsiteY2" fmla="*/ 238125 h 476250"/>
              <a:gd name="connsiteX3" fmla="*/ 352839 w 516930"/>
              <a:gd name="connsiteY3" fmla="*/ 476250 h 476250"/>
              <a:gd name="connsiteX4" fmla="*/ 0 w 516930"/>
              <a:gd name="connsiteY4" fmla="*/ 476250 h 476250"/>
              <a:gd name="connsiteX0" fmla="*/ 0 w 511056"/>
              <a:gd name="connsiteY0" fmla="*/ 0 h 476250"/>
              <a:gd name="connsiteX1" fmla="*/ 352839 w 511056"/>
              <a:gd name="connsiteY1" fmla="*/ 0 h 476250"/>
              <a:gd name="connsiteX2" fmla="*/ 511056 w 511056"/>
              <a:gd name="connsiteY2" fmla="*/ 238125 h 476250"/>
              <a:gd name="connsiteX3" fmla="*/ 352839 w 511056"/>
              <a:gd name="connsiteY3" fmla="*/ 476250 h 476250"/>
              <a:gd name="connsiteX4" fmla="*/ 0 w 511056"/>
              <a:gd name="connsiteY4" fmla="*/ 476250 h 476250"/>
              <a:gd name="connsiteX0" fmla="*/ 0 w 505249"/>
              <a:gd name="connsiteY0" fmla="*/ 0 h 476250"/>
              <a:gd name="connsiteX1" fmla="*/ 352839 w 505249"/>
              <a:gd name="connsiteY1" fmla="*/ 0 h 476250"/>
              <a:gd name="connsiteX2" fmla="*/ 505249 w 505249"/>
              <a:gd name="connsiteY2" fmla="*/ 238125 h 476250"/>
              <a:gd name="connsiteX3" fmla="*/ 352839 w 505249"/>
              <a:gd name="connsiteY3" fmla="*/ 476250 h 476250"/>
              <a:gd name="connsiteX4" fmla="*/ 0 w 505249"/>
              <a:gd name="connsiteY4" fmla="*/ 476250 h 476250"/>
              <a:gd name="connsiteX0" fmla="*/ 0 w 499508"/>
              <a:gd name="connsiteY0" fmla="*/ 0 h 476250"/>
              <a:gd name="connsiteX1" fmla="*/ 352839 w 499508"/>
              <a:gd name="connsiteY1" fmla="*/ 0 h 476250"/>
              <a:gd name="connsiteX2" fmla="*/ 499508 w 499508"/>
              <a:gd name="connsiteY2" fmla="*/ 238125 h 476250"/>
              <a:gd name="connsiteX3" fmla="*/ 352839 w 499508"/>
              <a:gd name="connsiteY3" fmla="*/ 476250 h 476250"/>
              <a:gd name="connsiteX4" fmla="*/ 0 w 499508"/>
              <a:gd name="connsiteY4" fmla="*/ 476250 h 476250"/>
              <a:gd name="connsiteX0" fmla="*/ 0 w 493832"/>
              <a:gd name="connsiteY0" fmla="*/ 0 h 476250"/>
              <a:gd name="connsiteX1" fmla="*/ 352839 w 493832"/>
              <a:gd name="connsiteY1" fmla="*/ 0 h 476250"/>
              <a:gd name="connsiteX2" fmla="*/ 493832 w 493832"/>
              <a:gd name="connsiteY2" fmla="*/ 238125 h 476250"/>
              <a:gd name="connsiteX3" fmla="*/ 352839 w 493832"/>
              <a:gd name="connsiteY3" fmla="*/ 476250 h 476250"/>
              <a:gd name="connsiteX4" fmla="*/ 0 w 493832"/>
              <a:gd name="connsiteY4" fmla="*/ 476250 h 476250"/>
              <a:gd name="connsiteX0" fmla="*/ 0 w 488220"/>
              <a:gd name="connsiteY0" fmla="*/ 0 h 476250"/>
              <a:gd name="connsiteX1" fmla="*/ 352839 w 488220"/>
              <a:gd name="connsiteY1" fmla="*/ 0 h 476250"/>
              <a:gd name="connsiteX2" fmla="*/ 488220 w 488220"/>
              <a:gd name="connsiteY2" fmla="*/ 238125 h 476250"/>
              <a:gd name="connsiteX3" fmla="*/ 352839 w 488220"/>
              <a:gd name="connsiteY3" fmla="*/ 476250 h 476250"/>
              <a:gd name="connsiteX4" fmla="*/ 0 w 488220"/>
              <a:gd name="connsiteY4" fmla="*/ 476250 h 476250"/>
              <a:gd name="connsiteX0" fmla="*/ 0 w 482672"/>
              <a:gd name="connsiteY0" fmla="*/ 0 h 476250"/>
              <a:gd name="connsiteX1" fmla="*/ 352839 w 482672"/>
              <a:gd name="connsiteY1" fmla="*/ 0 h 476250"/>
              <a:gd name="connsiteX2" fmla="*/ 482672 w 482672"/>
              <a:gd name="connsiteY2" fmla="*/ 238125 h 476250"/>
              <a:gd name="connsiteX3" fmla="*/ 352839 w 482672"/>
              <a:gd name="connsiteY3" fmla="*/ 476250 h 476250"/>
              <a:gd name="connsiteX4" fmla="*/ 0 w 482672"/>
              <a:gd name="connsiteY4" fmla="*/ 476250 h 476250"/>
              <a:gd name="connsiteX0" fmla="*/ 0 w 477187"/>
              <a:gd name="connsiteY0" fmla="*/ 0 h 476250"/>
              <a:gd name="connsiteX1" fmla="*/ 352839 w 477187"/>
              <a:gd name="connsiteY1" fmla="*/ 0 h 476250"/>
              <a:gd name="connsiteX2" fmla="*/ 477187 w 477187"/>
              <a:gd name="connsiteY2" fmla="*/ 238125 h 476250"/>
              <a:gd name="connsiteX3" fmla="*/ 352839 w 477187"/>
              <a:gd name="connsiteY3" fmla="*/ 476250 h 476250"/>
              <a:gd name="connsiteX4" fmla="*/ 0 w 477187"/>
              <a:gd name="connsiteY4" fmla="*/ 476250 h 476250"/>
              <a:gd name="connsiteX0" fmla="*/ 0 w 471764"/>
              <a:gd name="connsiteY0" fmla="*/ 0 h 476250"/>
              <a:gd name="connsiteX1" fmla="*/ 352839 w 471764"/>
              <a:gd name="connsiteY1" fmla="*/ 0 h 476250"/>
              <a:gd name="connsiteX2" fmla="*/ 471764 w 471764"/>
              <a:gd name="connsiteY2" fmla="*/ 238125 h 476250"/>
              <a:gd name="connsiteX3" fmla="*/ 352839 w 471764"/>
              <a:gd name="connsiteY3" fmla="*/ 476250 h 476250"/>
              <a:gd name="connsiteX4" fmla="*/ 0 w 471764"/>
              <a:gd name="connsiteY4" fmla="*/ 476250 h 476250"/>
              <a:gd name="connsiteX0" fmla="*/ 0 w 466403"/>
              <a:gd name="connsiteY0" fmla="*/ 0 h 476250"/>
              <a:gd name="connsiteX1" fmla="*/ 352839 w 466403"/>
              <a:gd name="connsiteY1" fmla="*/ 0 h 476250"/>
              <a:gd name="connsiteX2" fmla="*/ 466403 w 466403"/>
              <a:gd name="connsiteY2" fmla="*/ 238125 h 476250"/>
              <a:gd name="connsiteX3" fmla="*/ 352839 w 466403"/>
              <a:gd name="connsiteY3" fmla="*/ 476250 h 476250"/>
              <a:gd name="connsiteX4" fmla="*/ 0 w 466403"/>
              <a:gd name="connsiteY4" fmla="*/ 476250 h 476250"/>
              <a:gd name="connsiteX0" fmla="*/ 0 w 461103"/>
              <a:gd name="connsiteY0" fmla="*/ 0 h 476250"/>
              <a:gd name="connsiteX1" fmla="*/ 352839 w 461103"/>
              <a:gd name="connsiteY1" fmla="*/ 0 h 476250"/>
              <a:gd name="connsiteX2" fmla="*/ 461103 w 461103"/>
              <a:gd name="connsiteY2" fmla="*/ 238125 h 476250"/>
              <a:gd name="connsiteX3" fmla="*/ 352839 w 461103"/>
              <a:gd name="connsiteY3" fmla="*/ 476250 h 476250"/>
              <a:gd name="connsiteX4" fmla="*/ 0 w 461103"/>
              <a:gd name="connsiteY4" fmla="*/ 476250 h 476250"/>
              <a:gd name="connsiteX0" fmla="*/ 0 w 455863"/>
              <a:gd name="connsiteY0" fmla="*/ 0 h 476250"/>
              <a:gd name="connsiteX1" fmla="*/ 352839 w 455863"/>
              <a:gd name="connsiteY1" fmla="*/ 0 h 476250"/>
              <a:gd name="connsiteX2" fmla="*/ 455863 w 455863"/>
              <a:gd name="connsiteY2" fmla="*/ 238125 h 476250"/>
              <a:gd name="connsiteX3" fmla="*/ 352839 w 455863"/>
              <a:gd name="connsiteY3" fmla="*/ 476250 h 476250"/>
              <a:gd name="connsiteX4" fmla="*/ 0 w 455863"/>
              <a:gd name="connsiteY4" fmla="*/ 476250 h 476250"/>
              <a:gd name="connsiteX0" fmla="*/ 0 w 450683"/>
              <a:gd name="connsiteY0" fmla="*/ 0 h 476250"/>
              <a:gd name="connsiteX1" fmla="*/ 352839 w 450683"/>
              <a:gd name="connsiteY1" fmla="*/ 0 h 476250"/>
              <a:gd name="connsiteX2" fmla="*/ 450683 w 450683"/>
              <a:gd name="connsiteY2" fmla="*/ 238125 h 476250"/>
              <a:gd name="connsiteX3" fmla="*/ 352839 w 450683"/>
              <a:gd name="connsiteY3" fmla="*/ 476250 h 476250"/>
              <a:gd name="connsiteX4" fmla="*/ 0 w 450683"/>
              <a:gd name="connsiteY4" fmla="*/ 476250 h 476250"/>
              <a:gd name="connsiteX0" fmla="*/ 0 w 445562"/>
              <a:gd name="connsiteY0" fmla="*/ 0 h 476250"/>
              <a:gd name="connsiteX1" fmla="*/ 352839 w 445562"/>
              <a:gd name="connsiteY1" fmla="*/ 0 h 476250"/>
              <a:gd name="connsiteX2" fmla="*/ 445562 w 445562"/>
              <a:gd name="connsiteY2" fmla="*/ 238125 h 476250"/>
              <a:gd name="connsiteX3" fmla="*/ 352839 w 445562"/>
              <a:gd name="connsiteY3" fmla="*/ 476250 h 476250"/>
              <a:gd name="connsiteX4" fmla="*/ 0 w 445562"/>
              <a:gd name="connsiteY4" fmla="*/ 476250 h 476250"/>
              <a:gd name="connsiteX0" fmla="*/ 0 w 440499"/>
              <a:gd name="connsiteY0" fmla="*/ 0 h 476250"/>
              <a:gd name="connsiteX1" fmla="*/ 352839 w 440499"/>
              <a:gd name="connsiteY1" fmla="*/ 0 h 476250"/>
              <a:gd name="connsiteX2" fmla="*/ 440499 w 440499"/>
              <a:gd name="connsiteY2" fmla="*/ 238125 h 476250"/>
              <a:gd name="connsiteX3" fmla="*/ 352839 w 440499"/>
              <a:gd name="connsiteY3" fmla="*/ 476250 h 476250"/>
              <a:gd name="connsiteX4" fmla="*/ 0 w 440499"/>
              <a:gd name="connsiteY4" fmla="*/ 476250 h 476250"/>
              <a:gd name="connsiteX0" fmla="*/ 0 w 435493"/>
              <a:gd name="connsiteY0" fmla="*/ 0 h 476250"/>
              <a:gd name="connsiteX1" fmla="*/ 352839 w 435493"/>
              <a:gd name="connsiteY1" fmla="*/ 0 h 476250"/>
              <a:gd name="connsiteX2" fmla="*/ 435493 w 435493"/>
              <a:gd name="connsiteY2" fmla="*/ 238125 h 476250"/>
              <a:gd name="connsiteX3" fmla="*/ 352839 w 435493"/>
              <a:gd name="connsiteY3" fmla="*/ 476250 h 476250"/>
              <a:gd name="connsiteX4" fmla="*/ 0 w 435493"/>
              <a:gd name="connsiteY4" fmla="*/ 476250 h 476250"/>
              <a:gd name="connsiteX0" fmla="*/ 0 w 430544"/>
              <a:gd name="connsiteY0" fmla="*/ 0 h 476250"/>
              <a:gd name="connsiteX1" fmla="*/ 352839 w 430544"/>
              <a:gd name="connsiteY1" fmla="*/ 0 h 476250"/>
              <a:gd name="connsiteX2" fmla="*/ 430544 w 430544"/>
              <a:gd name="connsiteY2" fmla="*/ 238125 h 476250"/>
              <a:gd name="connsiteX3" fmla="*/ 352839 w 430544"/>
              <a:gd name="connsiteY3" fmla="*/ 476250 h 476250"/>
              <a:gd name="connsiteX4" fmla="*/ 0 w 430544"/>
              <a:gd name="connsiteY4" fmla="*/ 476250 h 476250"/>
              <a:gd name="connsiteX0" fmla="*/ 0 w 425651"/>
              <a:gd name="connsiteY0" fmla="*/ 0 h 476250"/>
              <a:gd name="connsiteX1" fmla="*/ 352839 w 425651"/>
              <a:gd name="connsiteY1" fmla="*/ 0 h 476250"/>
              <a:gd name="connsiteX2" fmla="*/ 425651 w 425651"/>
              <a:gd name="connsiteY2" fmla="*/ 238125 h 476250"/>
              <a:gd name="connsiteX3" fmla="*/ 352839 w 425651"/>
              <a:gd name="connsiteY3" fmla="*/ 476250 h 476250"/>
              <a:gd name="connsiteX4" fmla="*/ 0 w 425651"/>
              <a:gd name="connsiteY4" fmla="*/ 476250 h 476250"/>
              <a:gd name="connsiteX0" fmla="*/ 0 w 420814"/>
              <a:gd name="connsiteY0" fmla="*/ 0 h 476250"/>
              <a:gd name="connsiteX1" fmla="*/ 352839 w 420814"/>
              <a:gd name="connsiteY1" fmla="*/ 0 h 476250"/>
              <a:gd name="connsiteX2" fmla="*/ 420814 w 420814"/>
              <a:gd name="connsiteY2" fmla="*/ 238125 h 476250"/>
              <a:gd name="connsiteX3" fmla="*/ 352839 w 420814"/>
              <a:gd name="connsiteY3" fmla="*/ 476250 h 476250"/>
              <a:gd name="connsiteX4" fmla="*/ 0 w 420814"/>
              <a:gd name="connsiteY4" fmla="*/ 476250 h 476250"/>
              <a:gd name="connsiteX0" fmla="*/ 0 w 416032"/>
              <a:gd name="connsiteY0" fmla="*/ 0 h 476250"/>
              <a:gd name="connsiteX1" fmla="*/ 352839 w 416032"/>
              <a:gd name="connsiteY1" fmla="*/ 0 h 476250"/>
              <a:gd name="connsiteX2" fmla="*/ 416032 w 416032"/>
              <a:gd name="connsiteY2" fmla="*/ 238125 h 476250"/>
              <a:gd name="connsiteX3" fmla="*/ 352839 w 416032"/>
              <a:gd name="connsiteY3" fmla="*/ 476250 h 476250"/>
              <a:gd name="connsiteX4" fmla="*/ 0 w 416032"/>
              <a:gd name="connsiteY4" fmla="*/ 476250 h 476250"/>
              <a:gd name="connsiteX0" fmla="*/ 0 w 411304"/>
              <a:gd name="connsiteY0" fmla="*/ 0 h 476250"/>
              <a:gd name="connsiteX1" fmla="*/ 352839 w 411304"/>
              <a:gd name="connsiteY1" fmla="*/ 0 h 476250"/>
              <a:gd name="connsiteX2" fmla="*/ 411304 w 411304"/>
              <a:gd name="connsiteY2" fmla="*/ 238125 h 476250"/>
              <a:gd name="connsiteX3" fmla="*/ 352839 w 411304"/>
              <a:gd name="connsiteY3" fmla="*/ 476250 h 476250"/>
              <a:gd name="connsiteX4" fmla="*/ 0 w 411304"/>
              <a:gd name="connsiteY4" fmla="*/ 476250 h 476250"/>
              <a:gd name="connsiteX0" fmla="*/ 0 w 406630"/>
              <a:gd name="connsiteY0" fmla="*/ 0 h 476250"/>
              <a:gd name="connsiteX1" fmla="*/ 352839 w 406630"/>
              <a:gd name="connsiteY1" fmla="*/ 0 h 476250"/>
              <a:gd name="connsiteX2" fmla="*/ 406630 w 406630"/>
              <a:gd name="connsiteY2" fmla="*/ 238125 h 476250"/>
              <a:gd name="connsiteX3" fmla="*/ 352839 w 406630"/>
              <a:gd name="connsiteY3" fmla="*/ 476250 h 476250"/>
              <a:gd name="connsiteX4" fmla="*/ 0 w 406630"/>
              <a:gd name="connsiteY4" fmla="*/ 476250 h 476250"/>
              <a:gd name="connsiteX0" fmla="*/ 0 w 402009"/>
              <a:gd name="connsiteY0" fmla="*/ 0 h 476250"/>
              <a:gd name="connsiteX1" fmla="*/ 352839 w 402009"/>
              <a:gd name="connsiteY1" fmla="*/ 0 h 476250"/>
              <a:gd name="connsiteX2" fmla="*/ 402009 w 402009"/>
              <a:gd name="connsiteY2" fmla="*/ 238125 h 476250"/>
              <a:gd name="connsiteX3" fmla="*/ 352839 w 402009"/>
              <a:gd name="connsiteY3" fmla="*/ 476250 h 476250"/>
              <a:gd name="connsiteX4" fmla="*/ 0 w 402009"/>
              <a:gd name="connsiteY4" fmla="*/ 476250 h 476250"/>
              <a:gd name="connsiteX0" fmla="*/ 0 w 397441"/>
              <a:gd name="connsiteY0" fmla="*/ 0 h 476250"/>
              <a:gd name="connsiteX1" fmla="*/ 352839 w 397441"/>
              <a:gd name="connsiteY1" fmla="*/ 0 h 476250"/>
              <a:gd name="connsiteX2" fmla="*/ 397441 w 397441"/>
              <a:gd name="connsiteY2" fmla="*/ 238125 h 476250"/>
              <a:gd name="connsiteX3" fmla="*/ 352839 w 397441"/>
              <a:gd name="connsiteY3" fmla="*/ 476250 h 476250"/>
              <a:gd name="connsiteX4" fmla="*/ 0 w 397441"/>
              <a:gd name="connsiteY4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441" h="476250">
                <a:moveTo>
                  <a:pt x="0" y="0"/>
                </a:moveTo>
                <a:lnTo>
                  <a:pt x="352839" y="0"/>
                </a:lnTo>
                <a:lnTo>
                  <a:pt x="397441" y="238125"/>
                </a:lnTo>
                <a:lnTo>
                  <a:pt x="352839" y="476250"/>
                </a:lnTo>
                <a:lnTo>
                  <a:pt x="0" y="476250"/>
                </a:lnTo>
              </a:path>
            </a:pathLst>
          </a:custGeom>
          <a:solidFill>
            <a:schemeClr val="bg1"/>
          </a:solidFill>
          <a:ln w="19050" cmpd="sng">
            <a:solidFill>
              <a:schemeClr val="dk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 lang="en-US" sz="1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44AA68-C362-3A5A-910A-D80014261FB0}"/>
              </a:ext>
            </a:extLst>
          </p:cNvPr>
          <p:cNvSpPr txBox="1"/>
          <p:nvPr/>
        </p:nvSpPr>
        <p:spPr>
          <a:xfrm>
            <a:off x="11259590" y="3760459"/>
            <a:ext cx="620163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solidFill>
                  <a:schemeClr val="tx2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A slight negative trend shows that lower brain connectivity is associated with higher internalizing symptom scores, with some sex-based dispersion across the data poin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6502FE-7B49-617E-75F6-7D8E3E216C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773" y="2906619"/>
            <a:ext cx="8841212" cy="567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354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038DF4-36D7-22E1-EF90-CCB6E2F059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B3856E-8F0E-BDF9-A09D-C5D6134C71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B3856E-8F0E-BDF9-A09D-C5D6134C71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FB5CF423-8797-3BE2-E5C3-81B865216789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5839CC81-0623-50EC-91D7-D2626916170C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DB619517-1355-A0D6-8277-F20AE0D9CDDB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FE66A06-4961-299D-28B7-8A647CA49A0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AEF27774-1F03-B20A-DF32-A2D2AABF99F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9FDE41D7-4637-0849-CB62-65FD7DA0F80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2E1E373-4572-5718-EE99-6F1AEC05B8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5472273"/>
              </p:ext>
            </p:extLst>
          </p:nvPr>
        </p:nvGraphicFramePr>
        <p:xfrm>
          <a:off x="914398" y="3473959"/>
          <a:ext cx="8229600" cy="446873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68880">
                  <a:extLst>
                    <a:ext uri="{9D8B030D-6E8A-4147-A177-3AD203B41FA5}">
                      <a16:colId xmlns:a16="http://schemas.microsoft.com/office/drawing/2014/main" val="2698846477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1142505508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900479503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567789586"/>
                    </a:ext>
                  </a:extLst>
                </a:gridCol>
              </a:tblGrid>
              <a:tr h="893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effectLst/>
                        </a:rPr>
                        <a:t>Model</a:t>
                      </a:r>
                      <a:endParaRPr lang="en-US" sz="2400" kern="10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effectLst/>
                        </a:rPr>
                        <a:t>Test MAE</a:t>
                      </a:r>
                      <a:endParaRPr lang="en-US" sz="2400" kern="10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effectLst/>
                        </a:rPr>
                        <a:t>Test MSE</a:t>
                      </a:r>
                      <a:endParaRPr lang="en-US" sz="2400" kern="10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effectLst/>
                        </a:rPr>
                        <a:t>Test R²</a:t>
                      </a:r>
                      <a:endParaRPr lang="en-US" sz="2400" kern="100"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8767871"/>
                  </a:ext>
                </a:extLst>
              </a:tr>
              <a:tr h="893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Ridge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800" b="1" kern="0">
                          <a:solidFill>
                            <a:schemeClr val="tx2"/>
                          </a:solidFill>
                          <a:effectLst/>
                        </a:rPr>
                        <a:t>1.66</a:t>
                      </a:r>
                      <a:endParaRPr lang="en-US" sz="2800" b="1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4.35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800" b="1" kern="0">
                          <a:solidFill>
                            <a:schemeClr val="tx2"/>
                          </a:solidFill>
                          <a:effectLst/>
                        </a:rPr>
                        <a:t>0.58</a:t>
                      </a:r>
                      <a:endParaRPr lang="en-US" sz="2800" b="1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029925"/>
                  </a:ext>
                </a:extLst>
              </a:tr>
              <a:tr h="893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Lasso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1.68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4.35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0.58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597958"/>
                  </a:ext>
                </a:extLst>
              </a:tr>
              <a:tr h="893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Transformer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2.21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4.97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0.556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223640"/>
                  </a:ext>
                </a:extLst>
              </a:tr>
              <a:tr h="893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GNN Regression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2.44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5.95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</a:rPr>
                        <a:t>0.41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607511"/>
                  </a:ext>
                </a:extLst>
              </a:tr>
            </a:tbl>
          </a:graphicData>
        </a:graphic>
      </p:graphicFrame>
      <p:grpSp>
        <p:nvGrpSpPr>
          <p:cNvPr id="44" name="Group 43">
            <a:extLst>
              <a:ext uri="{FF2B5EF4-FFF2-40B4-BE49-F238E27FC236}">
                <a16:creationId xmlns:a16="http://schemas.microsoft.com/office/drawing/2014/main" id="{1F3369D8-9FB3-8A60-B6B0-47EBEB6D9AC8}"/>
              </a:ext>
            </a:extLst>
          </p:cNvPr>
          <p:cNvGrpSpPr/>
          <p:nvPr/>
        </p:nvGrpSpPr>
        <p:grpSpPr>
          <a:xfrm>
            <a:off x="10237694" y="2587488"/>
            <a:ext cx="7135908" cy="6241677"/>
            <a:chOff x="10470776" y="2561664"/>
            <a:chExt cx="6400800" cy="624167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B55A349-4675-22F4-FB5C-9D8124D0987C}"/>
                </a:ext>
              </a:extLst>
            </p:cNvPr>
            <p:cNvCxnSpPr>
              <a:cxnSpLocks/>
            </p:cNvCxnSpPr>
            <p:nvPr/>
          </p:nvCxnSpPr>
          <p:spPr>
            <a:xfrm>
              <a:off x="10470776" y="2561664"/>
              <a:ext cx="0" cy="6241677"/>
            </a:xfrm>
            <a:prstGeom prst="line">
              <a:avLst/>
            </a:prstGeom>
            <a:ln w="381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0777C818-BB9E-9901-7B5A-521AA2065A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70776" y="8803341"/>
              <a:ext cx="6400800" cy="0"/>
            </a:xfrm>
            <a:prstGeom prst="line">
              <a:avLst/>
            </a:prstGeom>
            <a:ln w="381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DAAE072-C155-21AE-E98A-6060F6C317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70776" y="2561664"/>
              <a:ext cx="6400800" cy="0"/>
            </a:xfrm>
            <a:prstGeom prst="line">
              <a:avLst/>
            </a:prstGeom>
            <a:ln w="381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815446E9-3B3F-CA2D-D9EB-21F40A16B38D}"/>
              </a:ext>
            </a:extLst>
          </p:cNvPr>
          <p:cNvSpPr txBox="1"/>
          <p:nvPr/>
        </p:nvSpPr>
        <p:spPr>
          <a:xfrm>
            <a:off x="10568785" y="4138666"/>
            <a:ext cx="6804813" cy="34470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4000">
                <a:solidFill>
                  <a:schemeClr val="tx2"/>
                </a:solidFill>
                <a:latin typeface="Roboto"/>
                <a:ea typeface="Roboto"/>
                <a:cs typeface="Roboto"/>
              </a:rPr>
              <a:t>Ridge regression achieved the best performance with the lowest error and highest R², indicating moderate predictive pow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/>
          </a:p>
        </p:txBody>
      </p:sp>
      <p:sp>
        <p:nvSpPr>
          <p:cNvPr id="46" name="Title 5">
            <a:extLst>
              <a:ext uri="{FF2B5EF4-FFF2-40B4-BE49-F238E27FC236}">
                <a16:creationId xmlns:a16="http://schemas.microsoft.com/office/drawing/2014/main" id="{6521E6AE-8FE2-5E8F-2563-DEABBBC8521F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Predicting Age and Mental Health from Brain Connectivity</a:t>
            </a:r>
          </a:p>
        </p:txBody>
      </p:sp>
    </p:spTree>
    <p:extLst>
      <p:ext uri="{BB962C8B-B14F-4D97-AF65-F5344CB8AC3E}">
        <p14:creationId xmlns:p14="http://schemas.microsoft.com/office/powerpoint/2010/main" val="38559078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3E1F89-2760-588D-8AFF-AF17C84E94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D16BC9-62C9-C857-D17F-E631174ED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D16BC9-62C9-C857-D17F-E631174ED3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5EC9CD49-EEDA-CA62-F1B9-D527288EABE5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DE98369B-F663-D044-5051-A99E589CDB21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448E3196-14F5-6E37-A62D-FCB5C30AE917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E5EACCC-B222-D5E2-D843-4617431436F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C46D606F-29AE-19BE-930B-E87A73625A5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B273EEBB-0775-261A-7AEF-474CA0704F6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174D6E3B-DE1E-57BB-BF6A-D1B66E2FF85B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Requirement Evaluation Summary</a:t>
            </a:r>
          </a:p>
        </p:txBody>
      </p: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0294D55B-0283-40C4-2D32-A74C40296B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866293"/>
              </p:ext>
            </p:extLst>
          </p:nvPr>
        </p:nvGraphicFramePr>
        <p:xfrm>
          <a:off x="826773" y="2540737"/>
          <a:ext cx="16634455" cy="44805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90336">
                  <a:extLst>
                    <a:ext uri="{9D8B030D-6E8A-4147-A177-3AD203B41FA5}">
                      <a16:colId xmlns:a16="http://schemas.microsoft.com/office/drawing/2014/main" val="2698846477"/>
                    </a:ext>
                  </a:extLst>
                </a:gridCol>
                <a:gridCol w="2586662">
                  <a:extLst>
                    <a:ext uri="{9D8B030D-6E8A-4147-A177-3AD203B41FA5}">
                      <a16:colId xmlns:a16="http://schemas.microsoft.com/office/drawing/2014/main" val="1142505508"/>
                    </a:ext>
                  </a:extLst>
                </a:gridCol>
                <a:gridCol w="9057457">
                  <a:extLst>
                    <a:ext uri="{9D8B030D-6E8A-4147-A177-3AD203B41FA5}">
                      <a16:colId xmlns:a16="http://schemas.microsoft.com/office/drawing/2014/main" val="900479503"/>
                    </a:ext>
                  </a:extLst>
                </a:gridCol>
              </a:tblGrid>
              <a:tr h="640080">
                <a:tc gridSpan="3"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00">
                          <a:effectLst/>
                          <a:latin typeface="Aptos"/>
                          <a:cs typeface="Times New Roman"/>
                        </a:rPr>
                        <a:t>Functional Requirements</a:t>
                      </a: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347663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US" sz="2800" kern="100">
                        <a:effectLst/>
                        <a:latin typeface="Aptos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347663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US" sz="2800" kern="100">
                        <a:effectLst/>
                        <a:latin typeface="Aptos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876787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quirement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b="1" kern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Status</a:t>
                      </a:r>
                      <a:endParaRPr lang="en-US" sz="2400" b="1" kern="100">
                        <a:solidFill>
                          <a:schemeClr val="tx2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b="1" kern="100">
                          <a:solidFill>
                            <a:schemeClr val="tx2"/>
                          </a:solidFill>
                          <a:effectLst/>
                          <a:latin typeface="+mj-lt"/>
                          <a:cs typeface="Times New Roman"/>
                        </a:rPr>
                        <a:t>Evidence</a:t>
                      </a: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02992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15888" indent="0" defTabSz="91440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ta Processing 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✅ Satisfied 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mated pipeline; data normalized and merged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59795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ature Engineering 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✅ Satisfied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CA reduced ~20k features to ~300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22364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del Training &amp; Selection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✅ Satisfied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mplemented multiple models; hyperparameter tuning applied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60751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del Evaluation &amp; Bias Analysis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🟡 Partially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ross-validation done; formal fairness metrics pending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708164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isualization &amp; Reporting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✅ Satisfied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enerated plots and dashboards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69106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03739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46D6F-B3B4-3225-5E5B-6F1932E656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65D872-80D4-9F1B-14CA-AA0F5F3C7F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65D872-80D4-9F1B-14CA-AA0F5F3C7FE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353D46AB-D4BF-00C4-6DC3-46C5AE84261E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46AA7CF0-6DAD-6D1E-66C6-8EFCC3801868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C34387F1-8CC2-3E69-DF0E-640964C665F7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4D8AACF-F694-5866-4D5F-4086EB8EC5A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C603EE52-E29E-C4A6-F8CA-C04F65A0AD2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0F1EB11E-B40F-8944-3E94-21B310F2B37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647B4AE2-D685-0332-DB3F-D74D0F5D353E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Requirement Evaluation Summary</a:t>
            </a:r>
          </a:p>
        </p:txBody>
      </p: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839502AC-F5F4-BF25-DD65-35634136C4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8219644"/>
              </p:ext>
            </p:extLst>
          </p:nvPr>
        </p:nvGraphicFramePr>
        <p:xfrm>
          <a:off x="826773" y="2540737"/>
          <a:ext cx="16634455" cy="57607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90336">
                  <a:extLst>
                    <a:ext uri="{9D8B030D-6E8A-4147-A177-3AD203B41FA5}">
                      <a16:colId xmlns:a16="http://schemas.microsoft.com/office/drawing/2014/main" val="2698846477"/>
                    </a:ext>
                  </a:extLst>
                </a:gridCol>
                <a:gridCol w="2586662">
                  <a:extLst>
                    <a:ext uri="{9D8B030D-6E8A-4147-A177-3AD203B41FA5}">
                      <a16:colId xmlns:a16="http://schemas.microsoft.com/office/drawing/2014/main" val="1142505508"/>
                    </a:ext>
                  </a:extLst>
                </a:gridCol>
                <a:gridCol w="9057457">
                  <a:extLst>
                    <a:ext uri="{9D8B030D-6E8A-4147-A177-3AD203B41FA5}">
                      <a16:colId xmlns:a16="http://schemas.microsoft.com/office/drawing/2014/main" val="900479503"/>
                    </a:ext>
                  </a:extLst>
                </a:gridCol>
              </a:tblGrid>
              <a:tr h="640080">
                <a:tc gridSpan="3"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00">
                          <a:effectLst/>
                          <a:latin typeface="Aptos"/>
                          <a:cs typeface="Times New Roman"/>
                        </a:rPr>
                        <a:t>Performance Requirements</a:t>
                      </a: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347663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US" sz="2800" kern="100">
                        <a:effectLst/>
                        <a:latin typeface="Aptos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347663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US" sz="2800" kern="100">
                        <a:effectLst/>
                        <a:latin typeface="Aptos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876787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kern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quirement</a:t>
                      </a:r>
                      <a:endParaRPr lang="en-US" sz="2400" kern="100">
                        <a:solidFill>
                          <a:schemeClr val="tx2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b="1" kern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Status</a:t>
                      </a:r>
                      <a:endParaRPr lang="en-US" sz="2400" b="1" kern="100">
                        <a:solidFill>
                          <a:schemeClr val="tx2"/>
                        </a:solidFill>
                        <a:effectLst/>
                        <a:latin typeface="+mj-lt"/>
                        <a:ea typeface="Aptos" panose="020B0004020202020204" pitchFamily="34" charset="0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indent="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400" b="1" kern="100">
                          <a:solidFill>
                            <a:schemeClr val="tx2"/>
                          </a:solidFill>
                          <a:effectLst/>
                          <a:latin typeface="+mj-lt"/>
                          <a:cs typeface="Times New Roman"/>
                        </a:rPr>
                        <a:t>Evidence</a:t>
                      </a: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02992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ndle large-scale fMRI data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✅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CA reduced computational load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59795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MSE/MAE thresholds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✅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  <a:ea typeface="Gungsuh" panose="02030600000101010101" pitchFamily="18" charset="-127"/>
                        </a:rPr>
                        <a:t>MAE ≈ 1.68 and MSE ≈ 4.35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22364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15888" indent="58738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-core processing support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🟡 Partially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ndom Forest supported parallelism; GPU planned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607511"/>
                  </a:ext>
                </a:extLst>
              </a:tr>
              <a:tr h="640080">
                <a:tc gridSpan="3">
                  <a:txBody>
                    <a:bodyPr/>
                    <a:lstStyle/>
                    <a:p>
                      <a:pPr marL="231775" marR="0" lvl="0" indent="-571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00">
                          <a:effectLst/>
                          <a:latin typeface="+mj-lt"/>
                          <a:cs typeface="Times New Roman"/>
                        </a:rPr>
                        <a:t>Quality Requirements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708164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cientific Validity 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🟡 Mostly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-tests, PCA, cross-validation applied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1585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eproducibility 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🟡 Mostly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dular pipeline implemented; environment tracking in progress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849223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ias Detection / Fairness Checks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0"/>
                      <a:r>
                        <a:rPr lang="en-US" sz="20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🟡 Partially Satisfied </a:t>
                      </a:r>
                      <a:endParaRPr lang="en-US" sz="2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/>
                      <a:r>
                        <a:rPr lang="en-US" sz="2000" b="0" i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E/MSE breakdowns done; formal fairness metrics planned.</a:t>
                      </a:r>
                      <a:endParaRPr lang="en-US" sz="2000">
                        <a:effectLst/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421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24143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DEADA9-AABA-1622-5BC7-B27EDF508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6E64A5-744B-2811-C456-ECB8417488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6E64A5-744B-2811-C456-ECB8417488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2DB4EE99-B33A-21E6-5C8A-98357C643613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935C0AAB-0B00-4BE8-03CB-8411C222566E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EAC98DB6-B48C-5C4B-B8EA-6B72B89C337B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37881F7-DA5B-F4DD-5D8E-4E3C32E89CD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194A43B0-6FDD-A5C8-E16E-ED7DDAFF7A7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FB23D183-A84E-EA63-9CE1-CE615E1662B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9BCF4219-4486-DDEB-84C5-E91131A062A0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chemeClr val="tx2"/>
                </a:solidFill>
                <a:ea typeface="+mj-lt"/>
                <a:cs typeface="+mj-lt"/>
              </a:rPr>
              <a:t>Sex-Based Differences in Brain Connectivity</a:t>
            </a:r>
            <a:endParaRPr lang="en-US">
              <a:solidFill>
                <a:schemeClr val="tx2"/>
              </a:solidFill>
            </a:endParaRPr>
          </a:p>
          <a:p>
            <a:pPr algn="l"/>
            <a:endParaRPr lang="en-US"/>
          </a:p>
        </p:txBody>
      </p:sp>
      <p:pic>
        <p:nvPicPr>
          <p:cNvPr id="7" name="Picture 6" descr="A diagram of a brain&#10;&#10;AI-generated content may be incorrect.">
            <a:extLst>
              <a:ext uri="{FF2B5EF4-FFF2-40B4-BE49-F238E27FC236}">
                <a16:creationId xmlns:a16="http://schemas.microsoft.com/office/drawing/2014/main" id="{3D07B080-E788-2BC3-7CF8-9FBE46D683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773" y="2390680"/>
            <a:ext cx="7796192" cy="4268664"/>
          </a:xfrm>
          <a:prstGeom prst="rect">
            <a:avLst/>
          </a:prstGeom>
        </p:spPr>
      </p:pic>
      <p:pic>
        <p:nvPicPr>
          <p:cNvPr id="8" name="Picture 7" descr="A diagram of a brain&#10;&#10;AI-generated content may be incorrect.">
            <a:extLst>
              <a:ext uri="{FF2B5EF4-FFF2-40B4-BE49-F238E27FC236}">
                <a16:creationId xmlns:a16="http://schemas.microsoft.com/office/drawing/2014/main" id="{0D1D5A45-DF40-40E8-122D-5853A984F0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87761" y="2390680"/>
            <a:ext cx="7796191" cy="418451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D647DCC-10DD-FCEC-C392-148945358B09}"/>
              </a:ext>
            </a:extLst>
          </p:cNvPr>
          <p:cNvSpPr txBox="1"/>
          <p:nvPr/>
        </p:nvSpPr>
        <p:spPr>
          <a:xfrm>
            <a:off x="826773" y="6973283"/>
            <a:ext cx="6940924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293E6B"/>
                </a:solidFill>
                <a:latin typeface="+mj-lt"/>
              </a:rPr>
              <a:t>Connectivity Difference Statistics (Female - Male)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r>
              <a:rPr lang="en-US" sz="2400" b="1">
                <a:solidFill>
                  <a:srgbClr val="293E6B"/>
                </a:solidFill>
                <a:latin typeface="+mj-lt"/>
              </a:rPr>
              <a:t>Maximum positive difference: 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0.0873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r>
              <a:rPr lang="en-US" sz="2400" b="1">
                <a:solidFill>
                  <a:srgbClr val="293E6B"/>
                </a:solidFill>
                <a:latin typeface="+mj-lt"/>
              </a:rPr>
              <a:t>Maximum negative difference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-0.1151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r>
              <a:rPr lang="en-US" sz="2400" b="1">
                <a:solidFill>
                  <a:srgbClr val="293E6B"/>
                </a:solidFill>
                <a:latin typeface="+mj-lt"/>
              </a:rPr>
              <a:t>Mean absolute difference: 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0.0146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r>
              <a:rPr lang="en-US" sz="2400" b="1">
                <a:solidFill>
                  <a:srgbClr val="293E6B"/>
                </a:solidFill>
                <a:latin typeface="+mj-lt"/>
              </a:rPr>
              <a:t>Standard deviation of differences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: 0.0185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36A3DE-70F1-7DD6-CD51-9804A567BD9B}"/>
              </a:ext>
            </a:extLst>
          </p:cNvPr>
          <p:cNvSpPr txBox="1"/>
          <p:nvPr/>
        </p:nvSpPr>
        <p:spPr>
          <a:xfrm>
            <a:off x="8914020" y="6973283"/>
            <a:ext cx="8674732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chemeClr val="tx2"/>
                </a:solidFill>
                <a:latin typeface="+mj-lt"/>
              </a:rPr>
              <a:t>Top 5 strongest differences between female and male connectivity: </a:t>
            </a:r>
            <a:endParaRPr lang="en-US" sz="2400" b="1">
              <a:solidFill>
                <a:schemeClr val="tx2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tx2"/>
                </a:solidFill>
                <a:latin typeface="+mj-lt"/>
              </a:rPr>
              <a:t>Region 184 - Region 185: Difference = 0.0873 </a:t>
            </a:r>
            <a:endParaRPr lang="en-US" sz="2400">
              <a:solidFill>
                <a:schemeClr val="tx2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tx2"/>
                </a:solidFill>
                <a:latin typeface="+mj-lt"/>
              </a:rPr>
              <a:t>Region 80 - Region 185: Difference = 0.0843 </a:t>
            </a:r>
            <a:endParaRPr lang="en-US" sz="2400">
              <a:solidFill>
                <a:schemeClr val="tx2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tx2"/>
                </a:solidFill>
                <a:latin typeface="+mj-lt"/>
              </a:rPr>
              <a:t>Region 76 - Region 184: Difference = 0.0799 </a:t>
            </a:r>
            <a:endParaRPr lang="en-US" sz="2400">
              <a:solidFill>
                <a:schemeClr val="tx2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tx2"/>
                </a:solidFill>
                <a:latin typeface="+mj-lt"/>
              </a:rPr>
              <a:t>Region 76 - Region 80: Difference = 0.079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tx2"/>
                </a:solidFill>
                <a:latin typeface="+mj-lt"/>
                <a:ea typeface="Calibri"/>
                <a:cs typeface="Calibri"/>
              </a:rPr>
              <a:t>Region 131 - Region 185: Difference = -0.1151</a:t>
            </a:r>
          </a:p>
        </p:txBody>
      </p:sp>
    </p:spTree>
    <p:extLst>
      <p:ext uri="{BB962C8B-B14F-4D97-AF65-F5344CB8AC3E}">
        <p14:creationId xmlns:p14="http://schemas.microsoft.com/office/powerpoint/2010/main" val="3103711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12441-2686-F615-6932-07CB6ED132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F801E0-31F1-40FA-E52D-0607A098B4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F801E0-31F1-40FA-E52D-0607A098B4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49080173-0C8D-EC02-42AA-5511F198AC95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0099AEAA-B4E8-5532-4CAB-B2F1483D6E86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D1109582-2AFD-330A-A54D-103DC31795F4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3AE77BB-2F17-2580-9BF2-14D1F6506C8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9BFC93BA-4683-4970-16B5-4DEAC036591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0BC66D05-0CC3-9613-CBB3-92575452034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Minimum Viable Product (MVP) Evaluation 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0D1805B4-C059-A6F4-2CA4-AA3ED2CE9F49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Brain Connectivity Between Sexes</a:t>
            </a:r>
          </a:p>
        </p:txBody>
      </p:sp>
      <p:pic>
        <p:nvPicPr>
          <p:cNvPr id="7" name="Picture 6" descr="A group of red and blue data&#10;&#10;AI-generated content may be incorrect.">
            <a:extLst>
              <a:ext uri="{FF2B5EF4-FFF2-40B4-BE49-F238E27FC236}">
                <a16:creationId xmlns:a16="http://schemas.microsoft.com/office/drawing/2014/main" id="{B05C0306-3A3D-D905-ACE9-9E57DB544C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773" y="2258494"/>
            <a:ext cx="11795533" cy="71382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4B9A523-5346-432B-8F5D-A6771A71A6CC}"/>
              </a:ext>
            </a:extLst>
          </p:cNvPr>
          <p:cNvSpPr txBox="1"/>
          <p:nvPr/>
        </p:nvSpPr>
        <p:spPr>
          <a:xfrm>
            <a:off x="12997637" y="2683385"/>
            <a:ext cx="4463590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u="sng">
                <a:solidFill>
                  <a:srgbClr val="293E6B"/>
                </a:solidFill>
                <a:latin typeface="+mj-lt"/>
              </a:rPr>
              <a:t>Male Development: </a:t>
            </a:r>
            <a:endParaRPr lang="en-US" sz="2400" b="1" u="sng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rgbClr val="293E6B"/>
                </a:solidFill>
                <a:latin typeface="+mj-lt"/>
              </a:rPr>
              <a:t>Early to Mid Adolescence Change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-0.0094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rgbClr val="293E6B"/>
                </a:solidFill>
                <a:latin typeface="+mj-lt"/>
              </a:rPr>
              <a:t>Mid to Late Adolescence Change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0.0002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rgbClr val="293E6B"/>
                </a:solidFill>
                <a:latin typeface="+mj-lt"/>
                <a:ea typeface="Calibri"/>
                <a:cs typeface="Calibri"/>
              </a:rPr>
              <a:t>Average Yearly Change:</a:t>
            </a:r>
            <a:r>
              <a:rPr lang="en-US" sz="2400">
                <a:solidFill>
                  <a:srgbClr val="293E6B"/>
                </a:solidFill>
                <a:latin typeface="+mj-lt"/>
                <a:ea typeface="Calibri"/>
                <a:cs typeface="Calibri"/>
              </a:rPr>
              <a:t> -0.001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4754C1-2CA6-C1D8-1094-22588021299F}"/>
              </a:ext>
            </a:extLst>
          </p:cNvPr>
          <p:cNvSpPr txBox="1"/>
          <p:nvPr/>
        </p:nvSpPr>
        <p:spPr>
          <a:xfrm>
            <a:off x="12997637" y="6067563"/>
            <a:ext cx="4463590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u="sng">
                <a:solidFill>
                  <a:srgbClr val="293E6B"/>
                </a:solidFill>
                <a:latin typeface="+mj-lt"/>
              </a:rPr>
              <a:t>Female Development:</a:t>
            </a:r>
            <a:r>
              <a:rPr lang="en-US" sz="2400" b="1">
                <a:solidFill>
                  <a:srgbClr val="293E6B"/>
                </a:solidFill>
                <a:latin typeface="+mj-lt"/>
              </a:rPr>
              <a:t>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rgbClr val="293E6B"/>
                </a:solidFill>
                <a:latin typeface="+mj-lt"/>
              </a:rPr>
              <a:t>Early to Mid Adolescence Change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-0.0123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rgbClr val="293E6B"/>
                </a:solidFill>
                <a:latin typeface="+mj-lt"/>
              </a:rPr>
              <a:t>Mid to Late Adolescence Change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0.0114 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1">
                <a:solidFill>
                  <a:srgbClr val="293E6B"/>
                </a:solidFill>
                <a:latin typeface="+mj-lt"/>
              </a:rPr>
              <a:t>Average Yearly Change:</a:t>
            </a:r>
            <a:r>
              <a:rPr lang="en-US" sz="2400">
                <a:solidFill>
                  <a:srgbClr val="293E6B"/>
                </a:solidFill>
                <a:latin typeface="+mj-lt"/>
              </a:rPr>
              <a:t> -0.0001</a:t>
            </a:r>
            <a:endParaRPr lang="en-US" sz="2400">
              <a:solidFill>
                <a:srgbClr val="293E6B"/>
              </a:solidFill>
              <a:latin typeface="+mj-l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16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97030-3005-0939-9268-27ED85CC0B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57E6CD-F0A3-45BD-6598-BB1E0B5C49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57E6CD-F0A3-45BD-6598-BB1E0B5C49C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F1709A4C-5C64-1646-7A09-D7BBF161F9BE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01B27114-F6E5-C721-3896-D37D06DA49A1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43A32BFE-F358-6A3A-DEAE-EE6D31EF8CC8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8DD203C-E607-BAB1-F64E-B293F7C4DE3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7161C700-DF18-0A84-95E5-311FF0FEA9A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5C4ADA3C-83D4-C9F5-4A2B-86466B293CB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Final Contemplation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B4130B59-25D0-C524-2973-014AE8DE63AB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What Could Have Made Our Project More Meaningful &amp; Accurate</a:t>
            </a:r>
            <a:endParaRPr lang="en-US">
              <a:solidFill>
                <a:srgbClr val="293E6B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99B0B62D-023A-ECF5-7283-C97A76339D6B}"/>
              </a:ext>
            </a:extLst>
          </p:cNvPr>
          <p:cNvSpPr txBox="1">
            <a:spLocks/>
          </p:cNvSpPr>
          <p:nvPr/>
        </p:nvSpPr>
        <p:spPr>
          <a:xfrm>
            <a:off x="826773" y="2943265"/>
            <a:ext cx="15696595" cy="6253734"/>
          </a:xfrm>
          <a:prstGeom prst="rect">
            <a:avLst/>
          </a:prstGeom>
        </p:spPr>
        <p:txBody>
          <a:bodyPr vert="horz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Expanded Dataset:</a:t>
            </a:r>
            <a:r>
              <a:rPr lang="en-US" sz="3200" b="1">
                <a:effectLst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Use a larger and more diverse dataset with balanced age and gender representation to enhance model robustness and reduce bias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3200">
              <a:effectLst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Better Model Interpretability: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Leverage Graph Neural Networks (GNNs), which outperform traditional regression in understanding complex, high-dimensional neuroscience data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3200">
              <a:effectLst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Clinical Collaboration: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Involve clinical experts to ensure the model’s relevance in real-world diagnosis and personalized care (e.g., ADHD, anxiety, depression)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3200">
              <a:effectLst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Specialized Models: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Develop generalized predictive models tailored to specific mental health conditions for greater clinical impact.</a:t>
            </a:r>
            <a:endParaRPr lang="en-US" sz="3200" b="1">
              <a:solidFill>
                <a:srgbClr val="293E6B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145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5F402E-E6E8-6A95-3ED8-0026897BD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id="{FE76D197-B469-A162-05C5-8E89281A1522}"/>
              </a:ext>
            </a:extLst>
          </p:cNvPr>
          <p:cNvGrpSpPr/>
          <p:nvPr/>
        </p:nvGrpSpPr>
        <p:grpSpPr>
          <a:xfrm>
            <a:off x="0" y="9987864"/>
            <a:ext cx="18288000" cy="477560"/>
            <a:chOff x="0" y="-38100"/>
            <a:chExt cx="4816593" cy="125777"/>
          </a:xfrm>
          <a:solidFill>
            <a:schemeClr val="tx2"/>
          </a:solidFill>
        </p:grpSpPr>
        <p:sp>
          <p:nvSpPr>
            <p:cNvPr id="3" name="Freeform 3">
              <a:extLst>
                <a:ext uri="{FF2B5EF4-FFF2-40B4-BE49-F238E27FC236}">
                  <a16:creationId xmlns:a16="http://schemas.microsoft.com/office/drawing/2014/main" id="{A18B7A7F-3353-377C-ACA5-7B54E0943A56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805705E0-7F72-B3F9-B93D-8347783F5355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sp>
        <p:nvSpPr>
          <p:cNvPr id="8" name="Title 5">
            <a:extLst>
              <a:ext uri="{FF2B5EF4-FFF2-40B4-BE49-F238E27FC236}">
                <a16:creationId xmlns:a16="http://schemas.microsoft.com/office/drawing/2014/main" id="{EF499B17-4DAF-100C-CC1A-DD9849A6B709}"/>
              </a:ext>
            </a:extLst>
          </p:cNvPr>
          <p:cNvSpPr txBox="1">
            <a:spLocks/>
          </p:cNvSpPr>
          <p:nvPr/>
        </p:nvSpPr>
        <p:spPr>
          <a:xfrm>
            <a:off x="406210" y="8997563"/>
            <a:ext cx="17055017" cy="1078377"/>
          </a:xfrm>
          <a:prstGeom prst="rect">
            <a:avLst/>
          </a:prstGeom>
        </p:spPr>
        <p:txBody>
          <a:bodyPr vert="horz" lIns="137160" tIns="68580" rIns="137160" bIns="6858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>
              <a:solidFill>
                <a:srgbClr val="293E6B"/>
              </a:solidFill>
              <a:latin typeface="Roboto"/>
              <a:ea typeface="Roboto"/>
              <a:cs typeface="Roboto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1848328-C476-D88C-2A36-C7AC70F2744E}"/>
              </a:ext>
            </a:extLst>
          </p:cNvPr>
          <p:cNvGrpSpPr/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E3708A4-798A-4F66-6D03-3030C7A18B06}"/>
                </a:ext>
              </a:extLst>
            </p:cNvPr>
            <p:cNvSpPr/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0" name="Title 5">
              <a:extLst>
                <a:ext uri="{FF2B5EF4-FFF2-40B4-BE49-F238E27FC236}">
                  <a16:creationId xmlns:a16="http://schemas.microsoft.com/office/drawing/2014/main" id="{F20AA963-246D-E9F7-6F28-B5D678C07F57}"/>
                </a:ext>
              </a:extLst>
            </p:cNvPr>
            <p:cNvSpPr txBox="1">
              <a:spLocks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Brain Connectivity Dataset Overview </a:t>
              </a:r>
            </a:p>
          </p:txBody>
        </p:sp>
      </p:grpSp>
      <p:sp>
        <p:nvSpPr>
          <p:cNvPr id="12" name="Freeform 3">
            <a:extLst>
              <a:ext uri="{FF2B5EF4-FFF2-40B4-BE49-F238E27FC236}">
                <a16:creationId xmlns:a16="http://schemas.microsoft.com/office/drawing/2014/main" id="{21A365F4-8AA9-A969-02B5-371F75E4BCBA}"/>
              </a:ext>
            </a:extLst>
          </p:cNvPr>
          <p:cNvSpPr/>
          <p:nvPr/>
        </p:nvSpPr>
        <p:spPr>
          <a:xfrm>
            <a:off x="826773" y="3019970"/>
            <a:ext cx="2714730" cy="2962870"/>
          </a:xfrm>
          <a:custGeom>
            <a:avLst/>
            <a:gdLst/>
            <a:ahLst/>
            <a:cxnLst/>
            <a:rect l="l" t="t" r="r" b="b"/>
            <a:pathLst>
              <a:path w="3423683" h="3736625">
                <a:moveTo>
                  <a:pt x="0" y="0"/>
                </a:moveTo>
                <a:lnTo>
                  <a:pt x="3423683" y="0"/>
                </a:lnTo>
                <a:lnTo>
                  <a:pt x="3423683" y="3736625"/>
                </a:lnTo>
                <a:lnTo>
                  <a:pt x="0" y="3736625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B625598C-3E95-3C5D-1495-16AE231E21CE}"/>
              </a:ext>
            </a:extLst>
          </p:cNvPr>
          <p:cNvSpPr/>
          <p:nvPr/>
        </p:nvSpPr>
        <p:spPr>
          <a:xfrm>
            <a:off x="4026790" y="2719254"/>
            <a:ext cx="992779" cy="810356"/>
          </a:xfrm>
          <a:custGeom>
            <a:avLst/>
            <a:gdLst/>
            <a:ahLst/>
            <a:cxnLst/>
            <a:rect l="l" t="t" r="r" b="b"/>
            <a:pathLst>
              <a:path w="1252044" h="1021981">
                <a:moveTo>
                  <a:pt x="0" y="0"/>
                </a:moveTo>
                <a:lnTo>
                  <a:pt x="1252045" y="0"/>
                </a:lnTo>
                <a:lnTo>
                  <a:pt x="1252045" y="1021981"/>
                </a:lnTo>
                <a:lnTo>
                  <a:pt x="0" y="102198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190B8068-0654-2F58-DAB5-AAC4772751F6}"/>
              </a:ext>
            </a:extLst>
          </p:cNvPr>
          <p:cNvSpPr/>
          <p:nvPr/>
        </p:nvSpPr>
        <p:spPr>
          <a:xfrm>
            <a:off x="4026790" y="4111901"/>
            <a:ext cx="992779" cy="810356"/>
          </a:xfrm>
          <a:custGeom>
            <a:avLst/>
            <a:gdLst/>
            <a:ahLst/>
            <a:cxnLst/>
            <a:rect l="l" t="t" r="r" b="b"/>
            <a:pathLst>
              <a:path w="1252044" h="1021981">
                <a:moveTo>
                  <a:pt x="0" y="0"/>
                </a:moveTo>
                <a:lnTo>
                  <a:pt x="1252045" y="0"/>
                </a:lnTo>
                <a:lnTo>
                  <a:pt x="1252045" y="1021981"/>
                </a:lnTo>
                <a:lnTo>
                  <a:pt x="0" y="102198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E4769098-AAE1-1C1D-385C-F38BD3DFEF03}"/>
              </a:ext>
            </a:extLst>
          </p:cNvPr>
          <p:cNvSpPr/>
          <p:nvPr/>
        </p:nvSpPr>
        <p:spPr>
          <a:xfrm>
            <a:off x="4026790" y="5505815"/>
            <a:ext cx="992779" cy="810356"/>
          </a:xfrm>
          <a:custGeom>
            <a:avLst/>
            <a:gdLst/>
            <a:ahLst/>
            <a:cxnLst/>
            <a:rect l="l" t="t" r="r" b="b"/>
            <a:pathLst>
              <a:path w="1252044" h="1021981">
                <a:moveTo>
                  <a:pt x="0" y="0"/>
                </a:moveTo>
                <a:lnTo>
                  <a:pt x="1252045" y="0"/>
                </a:lnTo>
                <a:lnTo>
                  <a:pt x="1252045" y="1021981"/>
                </a:lnTo>
                <a:lnTo>
                  <a:pt x="0" y="102198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E31CA741-9FDA-7288-2B15-4C295CEEF215}"/>
              </a:ext>
            </a:extLst>
          </p:cNvPr>
          <p:cNvSpPr/>
          <p:nvPr/>
        </p:nvSpPr>
        <p:spPr>
          <a:xfrm>
            <a:off x="5286969" y="3251021"/>
            <a:ext cx="3302815" cy="2804369"/>
          </a:xfrm>
          <a:custGeom>
            <a:avLst/>
            <a:gdLst/>
            <a:ahLst/>
            <a:cxnLst/>
            <a:rect l="l" t="t" r="r" b="b"/>
            <a:pathLst>
              <a:path w="4546019" h="3859954">
                <a:moveTo>
                  <a:pt x="0" y="0"/>
                </a:moveTo>
                <a:lnTo>
                  <a:pt x="4546019" y="0"/>
                </a:lnTo>
                <a:lnTo>
                  <a:pt x="4546019" y="3859954"/>
                </a:lnTo>
                <a:lnTo>
                  <a:pt x="0" y="3859954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l="-81198" t="-5372" r="-103095" b="-51576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0D371177-B2D1-D272-C068-154AF3168D27}"/>
              </a:ext>
            </a:extLst>
          </p:cNvPr>
          <p:cNvSpPr/>
          <p:nvPr/>
        </p:nvSpPr>
        <p:spPr>
          <a:xfrm flipV="1">
            <a:off x="1959329" y="3257726"/>
            <a:ext cx="2283625" cy="627284"/>
          </a:xfrm>
          <a:prstGeom prst="line">
            <a:avLst/>
          </a:prstGeom>
          <a:ln w="38100" cap="flat">
            <a:solidFill>
              <a:srgbClr val="D1222E"/>
            </a:solidFill>
            <a:prstDash val="solid"/>
            <a:headEnd type="none" w="sm" len="sm"/>
            <a:tailEnd type="arrow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A014EB8A-6D5F-E508-4330-ACF3F49B5DB2}"/>
              </a:ext>
            </a:extLst>
          </p:cNvPr>
          <p:cNvSpPr/>
          <p:nvPr/>
        </p:nvSpPr>
        <p:spPr>
          <a:xfrm>
            <a:off x="1959329" y="5134613"/>
            <a:ext cx="2283625" cy="627285"/>
          </a:xfrm>
          <a:prstGeom prst="line">
            <a:avLst/>
          </a:prstGeom>
          <a:ln w="38100" cap="flat">
            <a:solidFill>
              <a:srgbClr val="D25525"/>
            </a:solidFill>
            <a:prstDash val="solid"/>
            <a:headEnd type="none" w="sm" len="sm"/>
            <a:tailEnd type="arrow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767D3B56-7104-D5F2-317E-6C7788CCC55A}"/>
              </a:ext>
            </a:extLst>
          </p:cNvPr>
          <p:cNvSpPr/>
          <p:nvPr/>
        </p:nvSpPr>
        <p:spPr>
          <a:xfrm>
            <a:off x="8987405" y="3128318"/>
            <a:ext cx="3302815" cy="2980761"/>
          </a:xfrm>
          <a:custGeom>
            <a:avLst/>
            <a:gdLst/>
            <a:ahLst/>
            <a:cxnLst/>
            <a:rect l="l" t="t" r="r" b="b"/>
            <a:pathLst>
              <a:path w="4545563" h="4102329">
                <a:moveTo>
                  <a:pt x="0" y="0"/>
                </a:moveTo>
                <a:lnTo>
                  <a:pt x="4545563" y="0"/>
                </a:lnTo>
                <a:lnTo>
                  <a:pt x="4545563" y="4102329"/>
                </a:lnTo>
                <a:lnTo>
                  <a:pt x="0" y="4102329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l="-188238" b="-49709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AutoShape 10">
            <a:extLst>
              <a:ext uri="{FF2B5EF4-FFF2-40B4-BE49-F238E27FC236}">
                <a16:creationId xmlns:a16="http://schemas.microsoft.com/office/drawing/2014/main" id="{1AB8B6AB-6065-0EAD-6511-DD4A5F66D765}"/>
              </a:ext>
            </a:extLst>
          </p:cNvPr>
          <p:cNvSpPr/>
          <p:nvPr/>
        </p:nvSpPr>
        <p:spPr>
          <a:xfrm flipV="1">
            <a:off x="3063359" y="4519886"/>
            <a:ext cx="1179595" cy="133320"/>
          </a:xfrm>
          <a:prstGeom prst="line">
            <a:avLst/>
          </a:prstGeom>
          <a:ln w="38100" cap="flat">
            <a:solidFill>
              <a:srgbClr val="D25525"/>
            </a:solidFill>
            <a:prstDash val="solid"/>
            <a:headEnd type="none" w="sm" len="sm"/>
            <a:tailEnd type="arrow" w="med" len="sm"/>
          </a:ln>
        </p:spPr>
        <p:txBody>
          <a:bodyPr/>
          <a:lstStyle/>
          <a:p>
            <a:endParaRPr lang="en-US"/>
          </a:p>
        </p:txBody>
      </p:sp>
      <p:pic>
        <p:nvPicPr>
          <p:cNvPr id="21" name="Picture 20" descr="A red and blue graph&#10;&#10;AI-generated content may be incorrect.">
            <a:extLst>
              <a:ext uri="{FF2B5EF4-FFF2-40B4-BE49-F238E27FC236}">
                <a16:creationId xmlns:a16="http://schemas.microsoft.com/office/drawing/2014/main" id="{8778840A-6552-6683-031E-E1F39DD7B3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277" y="1858588"/>
            <a:ext cx="4914950" cy="5030046"/>
          </a:xfrm>
          <a:prstGeom prst="rect">
            <a:avLst/>
          </a:prstGeom>
        </p:spPr>
      </p:pic>
      <p:sp>
        <p:nvSpPr>
          <p:cNvPr id="22" name="Textframe 5">
            <a:extLst>
              <a:ext uri="{FF2B5EF4-FFF2-40B4-BE49-F238E27FC236}">
                <a16:creationId xmlns:a16="http://schemas.microsoft.com/office/drawing/2014/main" id="{7C4098A6-A5F0-A91D-5279-7FEEA16EA5EB}"/>
              </a:ext>
            </a:extLst>
          </p:cNvPr>
          <p:cNvSpPr txBox="1"/>
          <p:nvPr/>
        </p:nvSpPr>
        <p:spPr>
          <a:xfrm>
            <a:off x="826773" y="7163730"/>
            <a:ext cx="4192795" cy="99719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noProof="1"/>
              <a:t>Measure brain activity to measure brain activity and obtain a time series for each voxel</a:t>
            </a:r>
          </a:p>
        </p:txBody>
      </p:sp>
      <p:sp>
        <p:nvSpPr>
          <p:cNvPr id="23" name="Textframe 5">
            <a:extLst>
              <a:ext uri="{FF2B5EF4-FFF2-40B4-BE49-F238E27FC236}">
                <a16:creationId xmlns:a16="http://schemas.microsoft.com/office/drawing/2014/main" id="{E1A90051-0066-10D6-0E45-3528F52D4623}"/>
              </a:ext>
            </a:extLst>
          </p:cNvPr>
          <p:cNvSpPr txBox="1"/>
          <p:nvPr/>
        </p:nvSpPr>
        <p:spPr>
          <a:xfrm>
            <a:off x="5659210" y="7155695"/>
            <a:ext cx="2989239" cy="132959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noProof="1"/>
              <a:t>Group voxels into brain regions and summarize their time series</a:t>
            </a:r>
          </a:p>
          <a:p>
            <a:pPr algn="ctr">
              <a:lnSpc>
                <a:spcPct val="90000"/>
              </a:lnSpc>
            </a:pPr>
            <a:r>
              <a:rPr lang="en-US" sz="2400" noProof="1"/>
              <a:t>per region</a:t>
            </a:r>
          </a:p>
        </p:txBody>
      </p:sp>
      <p:sp>
        <p:nvSpPr>
          <p:cNvPr id="24" name="Textframe 5">
            <a:extLst>
              <a:ext uri="{FF2B5EF4-FFF2-40B4-BE49-F238E27FC236}">
                <a16:creationId xmlns:a16="http://schemas.microsoft.com/office/drawing/2014/main" id="{9069F9B0-CAA2-8B48-A53E-CB20EA10E26F}"/>
              </a:ext>
            </a:extLst>
          </p:cNvPr>
          <p:cNvSpPr txBox="1"/>
          <p:nvPr/>
        </p:nvSpPr>
        <p:spPr>
          <a:xfrm>
            <a:off x="9288091" y="7163730"/>
            <a:ext cx="2986102" cy="132959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noProof="1"/>
              <a:t>Compute statistical associations between the time series of different brain regions</a:t>
            </a:r>
          </a:p>
        </p:txBody>
      </p:sp>
      <p:sp>
        <p:nvSpPr>
          <p:cNvPr id="5" name="Textframe 5">
            <a:extLst>
              <a:ext uri="{FF2B5EF4-FFF2-40B4-BE49-F238E27FC236}">
                <a16:creationId xmlns:a16="http://schemas.microsoft.com/office/drawing/2014/main" id="{7A35A21F-92FE-A18A-96F8-31F9C0BC76AC}"/>
              </a:ext>
            </a:extLst>
          </p:cNvPr>
          <p:cNvSpPr txBox="1"/>
          <p:nvPr/>
        </p:nvSpPr>
        <p:spPr>
          <a:xfrm>
            <a:off x="13082914" y="7335963"/>
            <a:ext cx="3830977" cy="99719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noProof="1"/>
              <a:t>Fully connected correlation matrix for brain region interactive with each others</a:t>
            </a:r>
          </a:p>
        </p:txBody>
      </p:sp>
    </p:spTree>
    <p:extLst>
      <p:ext uri="{BB962C8B-B14F-4D97-AF65-F5344CB8AC3E}">
        <p14:creationId xmlns:p14="http://schemas.microsoft.com/office/powerpoint/2010/main" val="10268692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42F24-0E05-63D9-2C8F-CBA06826D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95B781-ECD8-7EF2-85BE-9F62BFA6F3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95B781-ECD8-7EF2-85BE-9F62BFA6F3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4FEBC1A8-7393-A748-7446-E398C08CC9F4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F7D15268-407D-DDB2-866B-6241857D810F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B4385106-BB00-E8EC-3C42-2A693754F33F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BE12B6F-C154-C0C6-842A-27E6BEFA8D6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292443A4-B4F2-879D-58D0-7EC1C353126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915BCD32-EA26-16FD-1E5E-E2C10ED36B7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Final Contemplation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BF3D8E2C-53E5-02E1-DACE-CC517ADF215C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Lessons Learned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D937D16D-B53A-86B9-43BD-FCAD1F3590FE}"/>
              </a:ext>
            </a:extLst>
          </p:cNvPr>
          <p:cNvSpPr txBox="1">
            <a:spLocks/>
          </p:cNvSpPr>
          <p:nvPr/>
        </p:nvSpPr>
        <p:spPr>
          <a:xfrm>
            <a:off x="826773" y="2943265"/>
            <a:ext cx="15696595" cy="6253734"/>
          </a:xfrm>
          <a:prstGeom prst="rect">
            <a:avLst/>
          </a:prstGeom>
        </p:spPr>
        <p:txBody>
          <a:bodyPr vert="horz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Practical Data Science Skills: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Gained hands-on experience in CRISP-DM methodology, Agile teamwork, project planning, and risk management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3200" b="1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Data Preparation is Key: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Learned the importance of preprocessing and model-specific data tuning to optimize performance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3200" b="1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3200" b="1">
                <a:solidFill>
                  <a:srgbClr val="293E6B"/>
                </a:solidFill>
                <a:effectLst/>
                <a:ea typeface="Roboto" panose="02000000000000000000" pitchFamily="2" charset="0"/>
                <a:cs typeface="Roboto" panose="02000000000000000000" pitchFamily="2" charset="0"/>
              </a:rPr>
              <a:t>Multi-perspective Problem Solving: </a:t>
            </a:r>
            <a:r>
              <a:rPr lang="en-US" sz="3200">
                <a:effectLst/>
                <a:ea typeface="Roboto" panose="02000000000000000000" pitchFamily="2" charset="0"/>
                <a:cs typeface="Roboto" panose="02000000000000000000" pitchFamily="2" charset="0"/>
              </a:rPr>
              <a:t>Adopted a holistic, exploratory mindset—essential for uncovering deeper insights and tackling future data challenges.</a:t>
            </a:r>
            <a:endParaRPr lang="en-US" sz="3200">
              <a:solidFill>
                <a:srgbClr val="293E6B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777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A38FF2-3B4D-3D0B-7B4A-6D5C3F742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27184E-F039-7AA6-2C27-3B8FD99FB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27184E-F039-7AA6-2C27-3B8FD99FB0C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3EE3E551-61E9-C15A-0753-D94A4F0CB6D2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424DEC76-6C3F-3BC7-10C6-F58AA37EBAA8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8CB9104A-5AFE-BEB5-1598-2AD329EC08C0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EA9A490-9496-0FB4-A5F4-AB91B86EA1C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FC19E535-AC4B-4DCF-2777-0147A2B1FF5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1A5E2EAA-A081-09CE-C459-EB81DF6629D9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Our Project Journey in 2 Minutes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88ACE63-01E0-8DDF-A514-23CC0F3992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773" y="1986157"/>
            <a:ext cx="5534800" cy="706937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3C2B164-C013-0420-2F6C-9338F26EEF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92370" y="3123855"/>
            <a:ext cx="6490445" cy="4793982"/>
          </a:xfrm>
          <a:prstGeom prst="rect">
            <a:avLst/>
          </a:prstGeom>
        </p:spPr>
      </p:pic>
      <p:sp>
        <p:nvSpPr>
          <p:cNvPr id="25" name="Freeform 2">
            <a:extLst>
              <a:ext uri="{FF2B5EF4-FFF2-40B4-BE49-F238E27FC236}">
                <a16:creationId xmlns:a16="http://schemas.microsoft.com/office/drawing/2014/main" id="{C029BF57-2A3A-D5F3-CFBC-FDD9CA6AD2CA}"/>
              </a:ext>
            </a:extLst>
          </p:cNvPr>
          <p:cNvSpPr/>
          <p:nvPr/>
        </p:nvSpPr>
        <p:spPr>
          <a:xfrm>
            <a:off x="9801712" y="2594841"/>
            <a:ext cx="6981103" cy="6460694"/>
          </a:xfrm>
          <a:custGeom>
            <a:avLst/>
            <a:gdLst/>
            <a:ahLst/>
            <a:cxnLst/>
            <a:rect l="l" t="t" r="r" b="b"/>
            <a:pathLst>
              <a:path w="7468837" h="6912069">
                <a:moveTo>
                  <a:pt x="0" y="0"/>
                </a:moveTo>
                <a:lnTo>
                  <a:pt x="7468836" y="0"/>
                </a:lnTo>
                <a:lnTo>
                  <a:pt x="7468836" y="6912069"/>
                </a:lnTo>
                <a:lnTo>
                  <a:pt x="0" y="6912069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4106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36FE6D-9DBE-574B-C06D-CACC9F69C2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1475BB-9C86-9C50-C931-91618DD0F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1475BB-9C86-9C50-C931-91618DD0FF7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nline Media 2" title="[UCF MSDA] Capstone Project: UNRAVELING THE MYSTERIES OF THE FEMALE BRAIN">
            <a:hlinkClick r:id="" action="ppaction://media"/>
            <a:extLst>
              <a:ext uri="{FF2B5EF4-FFF2-40B4-BE49-F238E27FC236}">
                <a16:creationId xmlns:a16="http://schemas.microsoft.com/office/drawing/2014/main" id="{084740A4-51FD-BAB0-1F8E-17FE42937AE9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8288000" cy="10332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9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80C65-A25E-5CD6-8F04-F4C142F2C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B075F9F5-56E4-7ACA-5153-7692BAEC0B58}"/>
              </a:ext>
            </a:extLst>
          </p:cNvPr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0561" r="-27529" b="-6968"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0C1E1C0-ED05-7E3C-CC36-4D54977C7183}"/>
              </a:ext>
            </a:extLst>
          </p:cNvPr>
          <p:cNvGrpSpPr/>
          <p:nvPr/>
        </p:nvGrpSpPr>
        <p:grpSpPr>
          <a:xfrm>
            <a:off x="5450693" y="8115300"/>
            <a:ext cx="7386615" cy="1379529"/>
            <a:chOff x="1201148" y="8568535"/>
            <a:chExt cx="7386615" cy="1379529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3865C582-9DA1-10F9-F3D9-5DB64CA2F5E2}"/>
                </a:ext>
              </a:extLst>
            </p:cNvPr>
            <p:cNvSpPr/>
            <p:nvPr/>
          </p:nvSpPr>
          <p:spPr>
            <a:xfrm>
              <a:off x="1201148" y="8568535"/>
              <a:ext cx="3031933" cy="1379529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" name="Group 13">
              <a:extLst>
                <a:ext uri="{FF2B5EF4-FFF2-40B4-BE49-F238E27FC236}">
                  <a16:creationId xmlns:a16="http://schemas.microsoft.com/office/drawing/2014/main" id="{1EE34699-ED58-9BC6-812B-D6C4F8B17D4E}"/>
                </a:ext>
              </a:extLst>
            </p:cNvPr>
            <p:cNvGrpSpPr/>
            <p:nvPr/>
          </p:nvGrpSpPr>
          <p:grpSpPr>
            <a:xfrm>
              <a:off x="4416183" y="8568535"/>
              <a:ext cx="129075" cy="1379529"/>
              <a:chOff x="0" y="0"/>
              <a:chExt cx="33995" cy="363333"/>
            </a:xfrm>
          </p:grpSpPr>
          <p:sp>
            <p:nvSpPr>
              <p:cNvPr id="14" name="Freeform 14">
                <a:extLst>
                  <a:ext uri="{FF2B5EF4-FFF2-40B4-BE49-F238E27FC236}">
                    <a16:creationId xmlns:a16="http://schemas.microsoft.com/office/drawing/2014/main" id="{75679E08-E585-89A3-7F82-2964D7E627DB}"/>
                  </a:ext>
                </a:extLst>
              </p:cNvPr>
              <p:cNvSpPr/>
              <p:nvPr/>
            </p:nvSpPr>
            <p:spPr>
              <a:xfrm>
                <a:off x="0" y="0"/>
                <a:ext cx="33995" cy="363333"/>
              </a:xfrm>
              <a:custGeom>
                <a:avLst/>
                <a:gdLst/>
                <a:ahLst/>
                <a:cxnLst/>
                <a:rect l="l" t="t" r="r" b="b"/>
                <a:pathLst>
                  <a:path w="33995" h="363333">
                    <a:moveTo>
                      <a:pt x="0" y="0"/>
                    </a:moveTo>
                    <a:lnTo>
                      <a:pt x="33995" y="0"/>
                    </a:lnTo>
                    <a:lnTo>
                      <a:pt x="33995" y="363333"/>
                    </a:lnTo>
                    <a:lnTo>
                      <a:pt x="0" y="363333"/>
                    </a:lnTo>
                    <a:close/>
                  </a:path>
                </a:pathLst>
              </a:custGeom>
              <a:solidFill>
                <a:srgbClr val="3B599B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" name="TextBox 15">
                <a:extLst>
                  <a:ext uri="{FF2B5EF4-FFF2-40B4-BE49-F238E27FC236}">
                    <a16:creationId xmlns:a16="http://schemas.microsoft.com/office/drawing/2014/main" id="{283C186A-D476-C06A-3029-EB7DDAE9E1E6}"/>
                  </a:ext>
                </a:extLst>
              </p:cNvPr>
              <p:cNvSpPr txBox="1"/>
              <p:nvPr/>
            </p:nvSpPr>
            <p:spPr>
              <a:xfrm>
                <a:off x="0" y="-38100"/>
                <a:ext cx="33995" cy="401433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3359"/>
                  </a:lnSpc>
                </a:pPr>
                <a:endParaRPr/>
              </a:p>
            </p:txBody>
          </p:sp>
        </p:grpSp>
        <p:sp>
          <p:nvSpPr>
            <p:cNvPr id="38" name="TextBox 38">
              <a:extLst>
                <a:ext uri="{FF2B5EF4-FFF2-40B4-BE49-F238E27FC236}">
                  <a16:creationId xmlns:a16="http://schemas.microsoft.com/office/drawing/2014/main" id="{2B7761D3-AA6F-6A53-478D-3B6E72585F1F}"/>
                </a:ext>
              </a:extLst>
            </p:cNvPr>
            <p:cNvSpPr txBox="1"/>
            <p:nvPr/>
          </p:nvSpPr>
          <p:spPr>
            <a:xfrm>
              <a:off x="4726233" y="8767756"/>
              <a:ext cx="3861530" cy="83907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3359"/>
                </a:lnSpc>
              </a:pPr>
              <a:r>
                <a:rPr lang="en-US" sz="2400" b="1">
                  <a:solidFill>
                    <a:srgbClr val="293E6B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  <a:sym typeface="Montserrat Bold"/>
                </a:rPr>
                <a:t>WiDS Datathon 2025</a:t>
              </a:r>
            </a:p>
            <a:p>
              <a:pPr algn="l">
                <a:lnSpc>
                  <a:spcPts val="3359"/>
                </a:lnSpc>
              </a:pPr>
              <a:r>
                <a:rPr lang="en-US" sz="2400" b="1">
                  <a:solidFill>
                    <a:srgbClr val="293E6B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  <a:sym typeface="Montserrat Bold"/>
                </a:rPr>
                <a:t>#WiDSDatathon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719A26F-B034-F8D3-D6EA-97298B51562C}"/>
              </a:ext>
            </a:extLst>
          </p:cNvPr>
          <p:cNvGrpSpPr/>
          <p:nvPr/>
        </p:nvGrpSpPr>
        <p:grpSpPr>
          <a:xfrm>
            <a:off x="1143000" y="4063802"/>
            <a:ext cx="16002000" cy="2159397"/>
            <a:chOff x="1143000" y="3738359"/>
            <a:chExt cx="16002000" cy="2159397"/>
          </a:xfrm>
        </p:grpSpPr>
        <p:sp>
          <p:nvSpPr>
            <p:cNvPr id="35" name="TextBox 35">
              <a:extLst>
                <a:ext uri="{FF2B5EF4-FFF2-40B4-BE49-F238E27FC236}">
                  <a16:creationId xmlns:a16="http://schemas.microsoft.com/office/drawing/2014/main" id="{1EB0FBAC-F90D-5B03-D658-BFF9C603E3BE}"/>
                </a:ext>
              </a:extLst>
            </p:cNvPr>
            <p:cNvSpPr txBox="1"/>
            <p:nvPr/>
          </p:nvSpPr>
          <p:spPr>
            <a:xfrm>
              <a:off x="1143000" y="3738359"/>
              <a:ext cx="16002000" cy="104509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6719"/>
                </a:lnSpc>
              </a:pPr>
              <a:r>
                <a:rPr lang="en-US" sz="12500" b="1">
                  <a:solidFill>
                    <a:srgbClr val="293E6B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  <a:sym typeface="Montserrat Bold"/>
                </a:rPr>
                <a:t>THANK YOU</a:t>
              </a:r>
            </a:p>
          </p:txBody>
        </p:sp>
        <p:sp>
          <p:nvSpPr>
            <p:cNvPr id="41" name="TextBox 35">
              <a:extLst>
                <a:ext uri="{FF2B5EF4-FFF2-40B4-BE49-F238E27FC236}">
                  <a16:creationId xmlns:a16="http://schemas.microsoft.com/office/drawing/2014/main" id="{F2CA436E-AB89-B4D4-A3EC-1DF6007148E0}"/>
                </a:ext>
              </a:extLst>
            </p:cNvPr>
            <p:cNvSpPr txBox="1"/>
            <p:nvPr/>
          </p:nvSpPr>
          <p:spPr>
            <a:xfrm>
              <a:off x="3456371" y="5022580"/>
              <a:ext cx="11375258" cy="87517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6719"/>
                </a:lnSpc>
              </a:pPr>
              <a:r>
                <a:rPr lang="en-US" sz="6600">
                  <a:solidFill>
                    <a:srgbClr val="293E6B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  <a:sym typeface="Montserrat Bold"/>
                </a:rPr>
                <a:t>For Your Atten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6085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B38A0C43-94F9-4EFF-A6CA-8E00B80E4115}"/>
              </a:ext>
            </a:extLst>
          </p:cNvPr>
          <p:cNvGrpSpPr/>
          <p:nvPr/>
        </p:nvGrpSpPr>
        <p:grpSpPr>
          <a:xfrm>
            <a:off x="4879232" y="7206177"/>
            <a:ext cx="10392780" cy="2011213"/>
            <a:chOff x="963834" y="4608583"/>
            <a:chExt cx="6928520" cy="1340808"/>
          </a:xfrm>
        </p:grpSpPr>
        <p:sp>
          <p:nvSpPr>
            <p:cNvPr id="48" name="Textframe 5"/>
            <p:cNvSpPr txBox="1"/>
            <p:nvPr/>
          </p:nvSpPr>
          <p:spPr>
            <a:xfrm>
              <a:off x="1682354" y="4658393"/>
              <a:ext cx="6210000" cy="3323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2400" b="0">
                  <a:solidFill>
                    <a:schemeClr val="accent6"/>
                  </a:solidFill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3600" b="1" noProof="1">
                  <a:solidFill>
                    <a:srgbClr val="293E6B"/>
                  </a:solidFill>
                </a:rPr>
                <a:t>Clinical &amp; Cognitive Insights</a:t>
              </a:r>
            </a:p>
          </p:txBody>
        </p:sp>
        <p:sp>
          <p:nvSpPr>
            <p:cNvPr id="49" name="Textframe 5"/>
            <p:cNvSpPr txBox="1"/>
            <p:nvPr/>
          </p:nvSpPr>
          <p:spPr>
            <a:xfrm>
              <a:off x="1682354" y="5062995"/>
              <a:ext cx="6210000" cy="886396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1400" b="0"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400" noProof="1"/>
                <a:t>Identifies sex-based differences in brain development and their links to mental health, cognitive function, and neurological disorders, aiming to bridge gaps in neuroscience, enhance diagnostics, and explore AI-driven clinical applications.</a:t>
              </a:r>
            </a:p>
          </p:txBody>
        </p:sp>
        <p:sp>
          <p:nvSpPr>
            <p:cNvPr id="50" name="Textframe 14"/>
            <p:cNvSpPr txBox="1"/>
            <p:nvPr/>
          </p:nvSpPr>
          <p:spPr>
            <a:xfrm>
              <a:off x="963834" y="4608583"/>
              <a:ext cx="720000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en-US" sz="5400">
                  <a:solidFill>
                    <a:srgbClr val="293E6B"/>
                  </a:solidFill>
                </a:rPr>
                <a:t>4 |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A941DE5-D276-4548-96A2-62D6B6796B63}"/>
              </a:ext>
            </a:extLst>
          </p:cNvPr>
          <p:cNvGrpSpPr/>
          <p:nvPr/>
        </p:nvGrpSpPr>
        <p:grpSpPr>
          <a:xfrm>
            <a:off x="5753402" y="5996456"/>
            <a:ext cx="10300025" cy="1008645"/>
            <a:chOff x="1546613" y="3729592"/>
            <a:chExt cx="6866683" cy="672430"/>
          </a:xfrm>
        </p:grpSpPr>
        <p:sp>
          <p:nvSpPr>
            <p:cNvPr id="51" name="Textframe 5"/>
            <p:cNvSpPr txBox="1"/>
            <p:nvPr/>
          </p:nvSpPr>
          <p:spPr>
            <a:xfrm>
              <a:off x="2203296" y="3779401"/>
              <a:ext cx="6210000" cy="3323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2400" b="0">
                  <a:solidFill>
                    <a:schemeClr val="accent6"/>
                  </a:solidFill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3600" b="1" noProof="1">
                  <a:solidFill>
                    <a:srgbClr val="293E6B"/>
                  </a:solidFill>
                </a:rPr>
                <a:t>Age Prediction via Machine Learning</a:t>
              </a:r>
            </a:p>
          </p:txBody>
        </p:sp>
        <p:sp>
          <p:nvSpPr>
            <p:cNvPr id="52" name="Textframe 5"/>
            <p:cNvSpPr txBox="1"/>
            <p:nvPr/>
          </p:nvSpPr>
          <p:spPr>
            <a:xfrm>
              <a:off x="2203296" y="4180423"/>
              <a:ext cx="6210000" cy="2215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1400" b="0"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400" noProof="1"/>
                <a:t>Trains models to estimate a child's age based on brain network patterns.</a:t>
              </a:r>
            </a:p>
          </p:txBody>
        </p:sp>
        <p:sp>
          <p:nvSpPr>
            <p:cNvPr id="53" name="Textframe 14"/>
            <p:cNvSpPr txBox="1"/>
            <p:nvPr/>
          </p:nvSpPr>
          <p:spPr>
            <a:xfrm>
              <a:off x="1546613" y="3729592"/>
              <a:ext cx="720000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en-US" sz="5400">
                  <a:solidFill>
                    <a:srgbClr val="293E6B"/>
                  </a:solidFill>
                </a:rPr>
                <a:t>3 |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319E56D-ABEA-4165-8ACB-58D6579EA7AC}"/>
              </a:ext>
            </a:extLst>
          </p:cNvPr>
          <p:cNvGrpSpPr/>
          <p:nvPr/>
        </p:nvGrpSpPr>
        <p:grpSpPr>
          <a:xfrm>
            <a:off x="6534813" y="4454336"/>
            <a:ext cx="10298913" cy="1341043"/>
            <a:chOff x="2067555" y="2850602"/>
            <a:chExt cx="6865942" cy="894028"/>
          </a:xfrm>
        </p:grpSpPr>
        <p:sp>
          <p:nvSpPr>
            <p:cNvPr id="76" name="Textframe 5"/>
            <p:cNvSpPr txBox="1"/>
            <p:nvPr/>
          </p:nvSpPr>
          <p:spPr>
            <a:xfrm>
              <a:off x="2723497" y="2900411"/>
              <a:ext cx="6210000" cy="3323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2400" b="0">
                  <a:solidFill>
                    <a:schemeClr val="accent6"/>
                  </a:solidFill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3600" b="1" noProof="1">
                  <a:solidFill>
                    <a:srgbClr val="293E6B"/>
                  </a:solidFill>
                </a:rPr>
                <a:t>fMRI &amp; Connectivity Analysis</a:t>
              </a:r>
            </a:p>
          </p:txBody>
        </p:sp>
        <p:sp>
          <p:nvSpPr>
            <p:cNvPr id="77" name="Textframe 5"/>
            <p:cNvSpPr txBox="1"/>
            <p:nvPr/>
          </p:nvSpPr>
          <p:spPr>
            <a:xfrm>
              <a:off x="2723497" y="3301432"/>
              <a:ext cx="6210000" cy="4431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1400" b="0"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400" noProof="1"/>
                <a:t>Uses functional MRI to examine brain connectivity matrices and neural network activity.</a:t>
              </a:r>
            </a:p>
          </p:txBody>
        </p:sp>
        <p:sp>
          <p:nvSpPr>
            <p:cNvPr id="85" name="Textframe 14"/>
            <p:cNvSpPr txBox="1"/>
            <p:nvPr/>
          </p:nvSpPr>
          <p:spPr>
            <a:xfrm>
              <a:off x="2067555" y="2850602"/>
              <a:ext cx="720000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en-US" sz="5400">
                  <a:solidFill>
                    <a:srgbClr val="293E6B"/>
                  </a:solidFill>
                </a:rPr>
                <a:t>2 |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2E939D-8F77-43F4-B42A-901E6DBF09D4}"/>
              </a:ext>
            </a:extLst>
          </p:cNvPr>
          <p:cNvGrpSpPr/>
          <p:nvPr/>
        </p:nvGrpSpPr>
        <p:grpSpPr>
          <a:xfrm>
            <a:off x="7315112" y="2906843"/>
            <a:ext cx="10351887" cy="1346416"/>
            <a:chOff x="2587755" y="1937894"/>
            <a:chExt cx="6901258" cy="897610"/>
          </a:xfrm>
        </p:grpSpPr>
        <p:sp>
          <p:nvSpPr>
            <p:cNvPr id="60" name="Textframe 5"/>
            <p:cNvSpPr txBox="1"/>
            <p:nvPr/>
          </p:nvSpPr>
          <p:spPr>
            <a:xfrm>
              <a:off x="3279013" y="1987704"/>
              <a:ext cx="6210000" cy="3323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defPPr>
                <a:defRPr lang="en-EN"/>
              </a:defPPr>
              <a:lvl1pPr>
                <a:lnSpc>
                  <a:spcPct val="93000"/>
                </a:lnSpc>
                <a:buSzPct val="100000"/>
                <a:defRPr sz="2400" b="0">
                  <a:solidFill>
                    <a:schemeClr val="accent6"/>
                  </a:solidFill>
                  <a:latin typeface="+mn-lt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3600" b="1" noProof="1">
                  <a:solidFill>
                    <a:srgbClr val="293E6B"/>
                  </a:solidFill>
                </a:rPr>
                <a:t>Sex-Based Brain Development</a:t>
              </a:r>
            </a:p>
          </p:txBody>
        </p:sp>
        <p:sp>
          <p:nvSpPr>
            <p:cNvPr id="61" name="Textframe 5"/>
            <p:cNvSpPr txBox="1"/>
            <p:nvPr/>
          </p:nvSpPr>
          <p:spPr>
            <a:xfrm>
              <a:off x="3279008" y="2392306"/>
              <a:ext cx="6210000" cy="4431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400" noProof="1"/>
                <a:t>Explores differences in brain maturation between males and females during childhood and adolescence.</a:t>
              </a:r>
            </a:p>
          </p:txBody>
        </p:sp>
        <p:sp>
          <p:nvSpPr>
            <p:cNvPr id="62" name="Textframe 14"/>
            <p:cNvSpPr txBox="1"/>
            <p:nvPr/>
          </p:nvSpPr>
          <p:spPr>
            <a:xfrm>
              <a:off x="2587755" y="1937894"/>
              <a:ext cx="720000" cy="4985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en-US" sz="5400">
                  <a:solidFill>
                    <a:srgbClr val="293E6B"/>
                  </a:solidFill>
                </a:rPr>
                <a:t>1 |</a:t>
              </a:r>
            </a:p>
          </p:txBody>
        </p:sp>
      </p:grpSp>
      <p:grpSp>
        <p:nvGrpSpPr>
          <p:cNvPr id="9" name="Group 2">
            <a:extLst>
              <a:ext uri="{FF2B5EF4-FFF2-40B4-BE49-F238E27FC236}">
                <a16:creationId xmlns:a16="http://schemas.microsoft.com/office/drawing/2014/main" id="{0E261A84-80B4-F844-B908-BA33D238A640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2ABF188F-C6FA-ABCF-FBA9-8CF6CEE05BE3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F31178A2-A626-E554-A928-024699DC2A6E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pic>
        <p:nvPicPr>
          <p:cNvPr id="13" name="Graphic 12" descr="Bullseye with solid fill">
            <a:extLst>
              <a:ext uri="{FF2B5EF4-FFF2-40B4-BE49-F238E27FC236}">
                <a16:creationId xmlns:a16="http://schemas.microsoft.com/office/drawing/2014/main" id="{C9001B3E-F3AA-4003-B168-FBF9DBE79D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8031" y="2534009"/>
            <a:ext cx="5218981" cy="521898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9794F24-CAC1-E353-AC5E-1B9B2680BAC4}"/>
              </a:ext>
            </a:extLst>
          </p:cNvPr>
          <p:cNvGrpSpPr/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52033BA2-2207-2C87-A0CB-84907DE40A94}"/>
                </a:ext>
              </a:extLst>
            </p:cNvPr>
            <p:cNvSpPr/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577F134E-2E35-957F-72C8-F4200257A97B}"/>
                </a:ext>
              </a:extLst>
            </p:cNvPr>
            <p:cNvSpPr txBox="1">
              <a:spLocks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Project Summa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0567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A5FCC-561A-C6BE-9A98-2AE215299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459B4AC-FC9B-6775-D143-920C283D4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459B4AC-FC9B-6775-D143-920C283D46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211491D2-9A86-44DD-068D-B11AB6CAB603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8B5F875A-95CE-593B-8FDA-8AB1C8DA4E1A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F6C289C3-16BC-9056-0425-8E5B223DC32E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641C70A-B469-6CE1-805C-E8B29C140EB1}"/>
              </a:ext>
            </a:extLst>
          </p:cNvPr>
          <p:cNvGrpSpPr/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55451977-B426-3FC7-9607-4F66A3C22712}"/>
                </a:ext>
              </a:extLst>
            </p:cNvPr>
            <p:cNvSpPr/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CD4368AA-EE80-F44A-CEBC-8564156B7676}"/>
                </a:ext>
              </a:extLst>
            </p:cNvPr>
            <p:cNvSpPr txBox="1">
              <a:spLocks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Purpose of Pro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22D5D75-BC44-D4C6-4F84-85E8110EB637}"/>
              </a:ext>
            </a:extLst>
          </p:cNvPr>
          <p:cNvGrpSpPr/>
          <p:nvPr/>
        </p:nvGrpSpPr>
        <p:grpSpPr>
          <a:xfrm>
            <a:off x="826773" y="3468046"/>
            <a:ext cx="7150608" cy="4480560"/>
            <a:chOff x="826773" y="3701143"/>
            <a:chExt cx="7150608" cy="44805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BA8AF06-091C-9494-479E-7CD2A74B100B}"/>
                </a:ext>
              </a:extLst>
            </p:cNvPr>
            <p:cNvSpPr/>
            <p:nvPr/>
          </p:nvSpPr>
          <p:spPr>
            <a:xfrm>
              <a:off x="826773" y="3701143"/>
              <a:ext cx="7150608" cy="4480560"/>
            </a:xfrm>
            <a:prstGeom prst="rect">
              <a:avLst/>
            </a:prstGeom>
            <a:solidFill>
              <a:schemeClr val="tx2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" name="Picture 2" descr="A close-up of a brain&#10;&#10;AI-generated content may be incorrect.">
              <a:extLst>
                <a:ext uri="{FF2B5EF4-FFF2-40B4-BE49-F238E27FC236}">
                  <a16:creationId xmlns:a16="http://schemas.microsoft.com/office/drawing/2014/main" id="{00CF7A43-E517-35DB-326C-74E0E6CC1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56589" y="3929743"/>
              <a:ext cx="6690977" cy="4023360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1B21160-01FC-3EFA-C92F-EDA025963C5C}"/>
              </a:ext>
            </a:extLst>
          </p:cNvPr>
          <p:cNvSpPr txBox="1"/>
          <p:nvPr/>
        </p:nvSpPr>
        <p:spPr>
          <a:xfrm>
            <a:off x="8641976" y="2834313"/>
            <a:ext cx="881925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Address the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research gap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 by focusing on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female neurodevelopment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, which has historically been understudi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300">
              <a:latin typeface="+mj-lt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Analyze how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functional brain connectivity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 differs across sex during adolescence using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fMRI da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300">
              <a:latin typeface="+mj-lt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Apply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machine learning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 to model age-related brain changes and uncover sex-specific developmental pattern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300">
              <a:latin typeface="+mj-lt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Support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early diagnosis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,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intervention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, and </a:t>
            </a:r>
            <a:r>
              <a:rPr lang="en-US" sz="2300" b="1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treatment design</a:t>
            </a: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 for cognitive and mental health condition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300">
              <a:latin typeface="+mj-lt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300"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Showcase the power of AI in neuroscience to drive discovery, enable personalized medicine through sex-specific brain markers, and unlock commercial potential in healthcare, drug development, and education.</a:t>
            </a:r>
          </a:p>
        </p:txBody>
      </p:sp>
      <p:sp>
        <p:nvSpPr>
          <p:cNvPr id="22" name="Rectangle: Top Corners Snipped 21">
            <a:extLst>
              <a:ext uri="{FF2B5EF4-FFF2-40B4-BE49-F238E27FC236}">
                <a16:creationId xmlns:a16="http://schemas.microsoft.com/office/drawing/2014/main" id="{B0A1A03C-BFF2-1352-3D00-B38FEE63DA00}"/>
              </a:ext>
            </a:extLst>
          </p:cNvPr>
          <p:cNvSpPr/>
          <p:nvPr/>
        </p:nvSpPr>
        <p:spPr>
          <a:xfrm rot="16200000">
            <a:off x="10647958" y="-339757"/>
            <a:ext cx="6762407" cy="12103562"/>
          </a:xfrm>
          <a:prstGeom prst="snip2SameRect">
            <a:avLst>
              <a:gd name="adj1" fmla="val 17103"/>
              <a:gd name="adj2" fmla="val 0"/>
            </a:avLst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830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8F627-E45A-E6F5-29B5-B78B5E3BEA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5BFCF1-78AD-572F-D409-6535A804E8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5BFCF1-78AD-572F-D409-6535A804E8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748D19FD-E0E1-A940-6F87-DA76602CBA1B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3C6E5E4C-E709-0B55-583C-F87D6D1058A9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E14CE198-BA3C-B0EC-154C-8BA21D6B380C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7750DB4-7F6B-AB16-1D94-7C9DE95ECD3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EAC8EA03-E4F2-C0A6-3DD4-C76157541DE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D811274E-7155-9442-FF8D-ED8500C06D0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Summary Statement </a:t>
              </a: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060F15B4-14E0-5414-2D7C-D02C746DD4C1}"/>
              </a:ext>
            </a:extLst>
          </p:cNvPr>
          <p:cNvGrpSpPr/>
          <p:nvPr/>
        </p:nvGrpSpPr>
        <p:grpSpPr>
          <a:xfrm>
            <a:off x="826773" y="1857140"/>
            <a:ext cx="14527522" cy="1032061"/>
            <a:chOff x="826773" y="2305378"/>
            <a:chExt cx="14527522" cy="103206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8CF938-AE38-F54D-F1A9-C0045B3437C0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39" name="Textframe 778,48141,84">
                <a:extLst>
                  <a:ext uri="{FF2B5EF4-FFF2-40B4-BE49-F238E27FC236}">
                    <a16:creationId xmlns:a16="http://schemas.microsoft.com/office/drawing/2014/main" id="{7763E52C-6DCB-FFFF-3A50-DBA93C7C34BC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Developed a complete pipeline to predict age from brain connectivity data using machine learning</a:t>
                </a: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BDD7E639-07B2-49F5-5863-64288D9A37D9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2B2C39FF-3F68-7359-E16C-BA0DA181861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BED70F91-567F-89AB-BC2F-3F967704E1F4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43" name="Oval 42">
                    <a:extLst>
                      <a:ext uri="{FF2B5EF4-FFF2-40B4-BE49-F238E27FC236}">
                        <a16:creationId xmlns:a16="http://schemas.microsoft.com/office/drawing/2014/main" id="{AB517B08-CE65-5EEE-D2B0-FE25F7752EF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5" name="Oval 44">
                    <a:extLst>
                      <a:ext uri="{FF2B5EF4-FFF2-40B4-BE49-F238E27FC236}">
                        <a16:creationId xmlns:a16="http://schemas.microsoft.com/office/drawing/2014/main" id="{327AD0BD-AB52-6133-7FD5-753D034CEC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03" name="Graphic 102" descr="Checkmark with solid fill">
              <a:extLst>
                <a:ext uri="{FF2B5EF4-FFF2-40B4-BE49-F238E27FC236}">
                  <a16:creationId xmlns:a16="http://schemas.microsoft.com/office/drawing/2014/main" id="{BCC010B4-2190-DDCB-657A-5E5A3AA28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6C3E369-9C43-3544-1810-07EE86C6DA86}"/>
              </a:ext>
            </a:extLst>
          </p:cNvPr>
          <p:cNvGrpSpPr/>
          <p:nvPr/>
        </p:nvGrpSpPr>
        <p:grpSpPr>
          <a:xfrm>
            <a:off x="826773" y="4054364"/>
            <a:ext cx="14527522" cy="1032061"/>
            <a:chOff x="826773" y="2305378"/>
            <a:chExt cx="14527522" cy="1032061"/>
          </a:xfrm>
        </p:grpSpPr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2D10846F-8DFF-9597-5D97-D253172AA475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141" name="Textframe 778,48141,84">
                <a:extLst>
                  <a:ext uri="{FF2B5EF4-FFF2-40B4-BE49-F238E27FC236}">
                    <a16:creationId xmlns:a16="http://schemas.microsoft.com/office/drawing/2014/main" id="{4765AE87-9F7E-4804-0B1A-2630060190F9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Demonstrated fair model performance across sex and age groups, with lowest errors in mid-adolescents</a:t>
                </a:r>
              </a:p>
            </p:txBody>
          </p: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3F939BFB-83B8-90F2-355A-891F4B8F8610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DA23FF74-6FDD-6EB8-3864-B973E9B8E7E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144" name="Group 143">
                  <a:extLst>
                    <a:ext uri="{FF2B5EF4-FFF2-40B4-BE49-F238E27FC236}">
                      <a16:creationId xmlns:a16="http://schemas.microsoft.com/office/drawing/2014/main" id="{6B04F57E-2E0D-D9F8-A83F-224FDE86751D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145" name="Oval 144">
                    <a:extLst>
                      <a:ext uri="{FF2B5EF4-FFF2-40B4-BE49-F238E27FC236}">
                        <a16:creationId xmlns:a16="http://schemas.microsoft.com/office/drawing/2014/main" id="{C339E155-D26C-20D1-E8B9-9B39956C9D3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146" name="Oval 145">
                    <a:extLst>
                      <a:ext uri="{FF2B5EF4-FFF2-40B4-BE49-F238E27FC236}">
                        <a16:creationId xmlns:a16="http://schemas.microsoft.com/office/drawing/2014/main" id="{0DDAAA9D-0359-4092-86F8-8EF209E2415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40" name="Graphic 139" descr="Checkmark with solid fill">
              <a:extLst>
                <a:ext uri="{FF2B5EF4-FFF2-40B4-BE49-F238E27FC236}">
                  <a16:creationId xmlns:a16="http://schemas.microsoft.com/office/drawing/2014/main" id="{24AEE2B3-6B4D-1DF6-18BB-EEDF4F3078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D0F8F4D9-A5AD-EB94-1BBF-0D8B469103FC}"/>
              </a:ext>
            </a:extLst>
          </p:cNvPr>
          <p:cNvGrpSpPr/>
          <p:nvPr/>
        </p:nvGrpSpPr>
        <p:grpSpPr>
          <a:xfrm>
            <a:off x="826773" y="8448811"/>
            <a:ext cx="14527522" cy="1032061"/>
            <a:chOff x="826773" y="2305378"/>
            <a:chExt cx="14527522" cy="1032061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05325884-97C6-DACC-BE99-107D52C56F75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150" name="Textframe 778,48141,84">
                <a:extLst>
                  <a:ext uri="{FF2B5EF4-FFF2-40B4-BE49-F238E27FC236}">
                    <a16:creationId xmlns:a16="http://schemas.microsoft.com/office/drawing/2014/main" id="{09E16D57-44AB-511C-4F14-A539643131DD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Contributed a proof-of-concept for using AI in developmental neuroscience</a:t>
                </a:r>
              </a:p>
            </p:txBody>
          </p: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351DF9AB-B059-C78F-560E-A68A7AB1A336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152" name="Freeform: Shape 151">
                  <a:extLst>
                    <a:ext uri="{FF2B5EF4-FFF2-40B4-BE49-F238E27FC236}">
                      <a16:creationId xmlns:a16="http://schemas.microsoft.com/office/drawing/2014/main" id="{E9D445DC-1D60-0801-23E9-D072CA01E82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153" name="Group 152">
                  <a:extLst>
                    <a:ext uri="{FF2B5EF4-FFF2-40B4-BE49-F238E27FC236}">
                      <a16:creationId xmlns:a16="http://schemas.microsoft.com/office/drawing/2014/main" id="{1BE9F96F-4997-367D-442E-3520C5F1A50F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154" name="Oval 153">
                    <a:extLst>
                      <a:ext uri="{FF2B5EF4-FFF2-40B4-BE49-F238E27FC236}">
                        <a16:creationId xmlns:a16="http://schemas.microsoft.com/office/drawing/2014/main" id="{FFD0B3F6-AA0F-81EF-201E-B98D64E5447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155" name="Oval 154">
                    <a:extLst>
                      <a:ext uri="{FF2B5EF4-FFF2-40B4-BE49-F238E27FC236}">
                        <a16:creationId xmlns:a16="http://schemas.microsoft.com/office/drawing/2014/main" id="{5449047C-D89A-D8B7-8038-049EFD490E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49" name="Graphic 148" descr="Checkmark with solid fill">
              <a:extLst>
                <a:ext uri="{FF2B5EF4-FFF2-40B4-BE49-F238E27FC236}">
                  <a16:creationId xmlns:a16="http://schemas.microsoft.com/office/drawing/2014/main" id="{5B27BE7C-25F0-F90F-4AF2-46C71AC7C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29C6F371-BF34-AEA1-BE72-877024B431F7}"/>
              </a:ext>
            </a:extLst>
          </p:cNvPr>
          <p:cNvGrpSpPr/>
          <p:nvPr/>
        </p:nvGrpSpPr>
        <p:grpSpPr>
          <a:xfrm>
            <a:off x="826773" y="2955752"/>
            <a:ext cx="14527522" cy="1032061"/>
            <a:chOff x="826773" y="2305378"/>
            <a:chExt cx="14527522" cy="1032061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4799E979-39A5-568D-2FBB-485005291949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159" name="Textframe 778,48141,84">
                <a:extLst>
                  <a:ext uri="{FF2B5EF4-FFF2-40B4-BE49-F238E27FC236}">
                    <a16:creationId xmlns:a16="http://schemas.microsoft.com/office/drawing/2014/main" id="{786075B4-DC18-A2F7-FF7F-BF76D969D1EC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Discovered statistically significant sex-based behavioral differences derived from brain features</a:t>
                </a:r>
              </a:p>
            </p:txBody>
          </p: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68D8872E-ACD3-48AC-6AFA-11D0D4D635E2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A4EC045A-A715-82C4-613D-EDB46975956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162" name="Group 161">
                  <a:extLst>
                    <a:ext uri="{FF2B5EF4-FFF2-40B4-BE49-F238E27FC236}">
                      <a16:creationId xmlns:a16="http://schemas.microsoft.com/office/drawing/2014/main" id="{E14570D7-EF11-2F2F-C3D5-69D08EF63B0E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163" name="Oval 162">
                    <a:extLst>
                      <a:ext uri="{FF2B5EF4-FFF2-40B4-BE49-F238E27FC236}">
                        <a16:creationId xmlns:a16="http://schemas.microsoft.com/office/drawing/2014/main" id="{A77067AC-2133-4945-6C54-AD384D8B30A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164" name="Oval 163">
                    <a:extLst>
                      <a:ext uri="{FF2B5EF4-FFF2-40B4-BE49-F238E27FC236}">
                        <a16:creationId xmlns:a16="http://schemas.microsoft.com/office/drawing/2014/main" id="{8FD2E86E-18F0-7025-F2BC-44141777BB6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58" name="Graphic 157" descr="Checkmark with solid fill">
              <a:extLst>
                <a:ext uri="{FF2B5EF4-FFF2-40B4-BE49-F238E27FC236}">
                  <a16:creationId xmlns:a16="http://schemas.microsoft.com/office/drawing/2014/main" id="{9AFC9C70-020D-BC59-C55B-295BEF6AE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FA76C796-6A65-9BC4-3978-9E2F2DDDA3B8}"/>
              </a:ext>
            </a:extLst>
          </p:cNvPr>
          <p:cNvGrpSpPr/>
          <p:nvPr/>
        </p:nvGrpSpPr>
        <p:grpSpPr>
          <a:xfrm>
            <a:off x="826773" y="6251588"/>
            <a:ext cx="14527522" cy="1032061"/>
            <a:chOff x="826773" y="2305378"/>
            <a:chExt cx="14527522" cy="1032061"/>
          </a:xfrm>
        </p:grpSpPr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68757190-B109-EC71-8E4E-A9A54AE6C124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168" name="Textframe 778,48141,84">
                <a:extLst>
                  <a:ext uri="{FF2B5EF4-FFF2-40B4-BE49-F238E27FC236}">
                    <a16:creationId xmlns:a16="http://schemas.microsoft.com/office/drawing/2014/main" id="{AD5B3BB4-C597-3E44-0335-1FCC3339A9E1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Delivered interpretable visualizations to communicate age prediction and behavioral insights</a:t>
                </a:r>
              </a:p>
            </p:txBody>
          </p: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1E1ACDC7-6E71-6493-4122-A16F93A9F1B1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45CE0C52-4378-DD8E-DBCA-F25183E3EE3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171" name="Group 170">
                  <a:extLst>
                    <a:ext uri="{FF2B5EF4-FFF2-40B4-BE49-F238E27FC236}">
                      <a16:creationId xmlns:a16="http://schemas.microsoft.com/office/drawing/2014/main" id="{793EB12A-F7E7-0F9B-8B16-60BC23D0B407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172" name="Oval 171">
                    <a:extLst>
                      <a:ext uri="{FF2B5EF4-FFF2-40B4-BE49-F238E27FC236}">
                        <a16:creationId xmlns:a16="http://schemas.microsoft.com/office/drawing/2014/main" id="{F2CFA761-F8B1-F579-C2AB-6F0EF84964F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173" name="Oval 172">
                    <a:extLst>
                      <a:ext uri="{FF2B5EF4-FFF2-40B4-BE49-F238E27FC236}">
                        <a16:creationId xmlns:a16="http://schemas.microsoft.com/office/drawing/2014/main" id="{304F55EC-7C0D-356C-3CBD-BEF3D874A2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67" name="Graphic 166" descr="Checkmark with solid fill">
              <a:extLst>
                <a:ext uri="{FF2B5EF4-FFF2-40B4-BE49-F238E27FC236}">
                  <a16:creationId xmlns:a16="http://schemas.microsoft.com/office/drawing/2014/main" id="{49C84F89-B519-022A-C32E-561B3BC55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1E8AC2F7-C4EA-0193-D364-6F8BA3689D22}"/>
              </a:ext>
            </a:extLst>
          </p:cNvPr>
          <p:cNvGrpSpPr/>
          <p:nvPr/>
        </p:nvGrpSpPr>
        <p:grpSpPr>
          <a:xfrm>
            <a:off x="826773" y="5152976"/>
            <a:ext cx="14527522" cy="1032061"/>
            <a:chOff x="826773" y="2305378"/>
            <a:chExt cx="14527522" cy="1032061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4385169A-81FF-BA73-9AEE-BB808947ADE5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177" name="Textframe 778,48141,84">
                <a:extLst>
                  <a:ext uri="{FF2B5EF4-FFF2-40B4-BE49-F238E27FC236}">
                    <a16:creationId xmlns:a16="http://schemas.microsoft.com/office/drawing/2014/main" id="{D902CB87-EB79-110E-A941-8C36C9F1A19C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Applied dimensionality reduction (PCA) to extract meaningful features from high-dimensional fMRI data</a:t>
                </a:r>
              </a:p>
            </p:txBody>
          </p: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53C0B641-2CD2-2FDF-FC56-6C90B85916CB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179" name="Freeform: Shape 178">
                  <a:extLst>
                    <a:ext uri="{FF2B5EF4-FFF2-40B4-BE49-F238E27FC236}">
                      <a16:creationId xmlns:a16="http://schemas.microsoft.com/office/drawing/2014/main" id="{0FBEDBDE-C03F-667A-628B-77D5F2631EE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180" name="Group 179">
                  <a:extLst>
                    <a:ext uri="{FF2B5EF4-FFF2-40B4-BE49-F238E27FC236}">
                      <a16:creationId xmlns:a16="http://schemas.microsoft.com/office/drawing/2014/main" id="{A367BD3D-552B-81A9-44F0-649E402A78A5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181" name="Oval 180">
                    <a:extLst>
                      <a:ext uri="{FF2B5EF4-FFF2-40B4-BE49-F238E27FC236}">
                        <a16:creationId xmlns:a16="http://schemas.microsoft.com/office/drawing/2014/main" id="{BDEA7C04-FA29-47A4-BF13-D9B8D0831FD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182" name="Oval 181">
                    <a:extLst>
                      <a:ext uri="{FF2B5EF4-FFF2-40B4-BE49-F238E27FC236}">
                        <a16:creationId xmlns:a16="http://schemas.microsoft.com/office/drawing/2014/main" id="{6273A2C7-9966-A9B4-2418-8601838C77A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76" name="Graphic 175" descr="Checkmark with solid fill">
              <a:extLst>
                <a:ext uri="{FF2B5EF4-FFF2-40B4-BE49-F238E27FC236}">
                  <a16:creationId xmlns:a16="http://schemas.microsoft.com/office/drawing/2014/main" id="{8CE4C319-8C93-2AB4-CFFF-1D7FAF0AB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FA3E8DDF-EC7D-8C54-2F04-D9465E880619}"/>
              </a:ext>
            </a:extLst>
          </p:cNvPr>
          <p:cNvGrpSpPr/>
          <p:nvPr/>
        </p:nvGrpSpPr>
        <p:grpSpPr>
          <a:xfrm>
            <a:off x="826773" y="7350200"/>
            <a:ext cx="14527522" cy="1032061"/>
            <a:chOff x="826773" y="2305378"/>
            <a:chExt cx="14527522" cy="1032061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F1758D5A-25C3-734A-27A5-6629E962BE91}"/>
                </a:ext>
              </a:extLst>
            </p:cNvPr>
            <p:cNvGrpSpPr/>
            <p:nvPr/>
          </p:nvGrpSpPr>
          <p:grpSpPr>
            <a:xfrm>
              <a:off x="826773" y="2305378"/>
              <a:ext cx="14527522" cy="1032061"/>
              <a:chOff x="826773" y="2305378"/>
              <a:chExt cx="14527522" cy="1032061"/>
            </a:xfrm>
          </p:grpSpPr>
          <p:sp>
            <p:nvSpPr>
              <p:cNvPr id="186" name="Textframe 778,48141,84">
                <a:extLst>
                  <a:ext uri="{FF2B5EF4-FFF2-40B4-BE49-F238E27FC236}">
                    <a16:creationId xmlns:a16="http://schemas.microsoft.com/office/drawing/2014/main" id="{6AB259F7-ADBD-B000-3030-B984F673DA2D}"/>
                  </a:ext>
                </a:extLst>
              </p:cNvPr>
              <p:cNvSpPr txBox="1"/>
              <p:nvPr/>
            </p:nvSpPr>
            <p:spPr>
              <a:xfrm>
                <a:off x="1086435" y="2466708"/>
                <a:ext cx="14267860" cy="6843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txBody>
              <a:bodyPr vert="horz" wrap="square" lIns="1026000" tIns="108000" rIns="108000" bIns="108000" rtlCol="0" anchor="ctr">
                <a:noAutofit/>
              </a:bodyPr>
              <a:lstStyle/>
              <a:p>
                <a:pPr>
                  <a:lnSpc>
                    <a:spcPct val="90000"/>
                  </a:lnSpc>
                  <a:buSzPct val="100000"/>
                </a:pPr>
                <a:r>
                  <a:rPr lang="en-US" sz="2400">
                    <a:solidFill>
                      <a:schemeClr val="dk1"/>
                    </a:solidFill>
                  </a:rPr>
                  <a:t>Addressed gaps in brain research by ensuring female representation and bias-aware modeling</a:t>
                </a:r>
              </a:p>
            </p:txBody>
          </p: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B25D40B7-DB61-06F5-84AA-E058D8AD8DE8}"/>
                  </a:ext>
                </a:extLst>
              </p:cNvPr>
              <p:cNvGrpSpPr/>
              <p:nvPr/>
            </p:nvGrpSpPr>
            <p:grpSpPr>
              <a:xfrm>
                <a:off x="826773" y="2305378"/>
                <a:ext cx="1032061" cy="1032061"/>
                <a:chOff x="339271" y="1921107"/>
                <a:chExt cx="882072" cy="882072"/>
              </a:xfrm>
            </p:grpSpPr>
            <p:sp>
              <p:nvSpPr>
                <p:cNvPr id="188" name="Freeform: Shape 187">
                  <a:extLst>
                    <a:ext uri="{FF2B5EF4-FFF2-40B4-BE49-F238E27FC236}">
                      <a16:creationId xmlns:a16="http://schemas.microsoft.com/office/drawing/2014/main" id="{31B3F3F3-024E-ABE7-79A6-463A1F76A2E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0625" y="2096202"/>
                  <a:ext cx="531883" cy="531883"/>
                </a:xfrm>
                <a:custGeom>
                  <a:avLst/>
                  <a:gdLst>
                    <a:gd name="connsiteX0" fmla="*/ 559786 w 835212"/>
                    <a:gd name="connsiteY0" fmla="*/ 411635 h 835213"/>
                    <a:gd name="connsiteX1" fmla="*/ 559786 w 835212"/>
                    <a:gd name="connsiteY1" fmla="*/ 422550 h 835213"/>
                    <a:gd name="connsiteX2" fmla="*/ 548232 w 835212"/>
                    <a:gd name="connsiteY2" fmla="*/ 427503 h 835213"/>
                    <a:gd name="connsiteX3" fmla="*/ 540993 w 835212"/>
                    <a:gd name="connsiteY3" fmla="*/ 421284 h 835213"/>
                    <a:gd name="connsiteX4" fmla="*/ 553566 w 835212"/>
                    <a:gd name="connsiteY4" fmla="*/ 412521 h 835213"/>
                    <a:gd name="connsiteX5" fmla="*/ 443780 w 835212"/>
                    <a:gd name="connsiteY5" fmla="*/ 392709 h 835213"/>
                    <a:gd name="connsiteX6" fmla="*/ 454572 w 835212"/>
                    <a:gd name="connsiteY6" fmla="*/ 396395 h 835213"/>
                    <a:gd name="connsiteX7" fmla="*/ 454572 w 835212"/>
                    <a:gd name="connsiteY7" fmla="*/ 421036 h 835213"/>
                    <a:gd name="connsiteX8" fmla="*/ 443780 w 835212"/>
                    <a:gd name="connsiteY8" fmla="*/ 424970 h 835213"/>
                    <a:gd name="connsiteX9" fmla="*/ 431198 w 835212"/>
                    <a:gd name="connsiteY9" fmla="*/ 408720 h 835213"/>
                    <a:gd name="connsiteX10" fmla="*/ 443780 w 835212"/>
                    <a:gd name="connsiteY10" fmla="*/ 392709 h 835213"/>
                    <a:gd name="connsiteX11" fmla="*/ 183796 w 835212"/>
                    <a:gd name="connsiteY11" fmla="*/ 392709 h 835213"/>
                    <a:gd name="connsiteX12" fmla="*/ 196493 w 835212"/>
                    <a:gd name="connsiteY12" fmla="*/ 409092 h 835213"/>
                    <a:gd name="connsiteX13" fmla="*/ 183663 w 835212"/>
                    <a:gd name="connsiteY13" fmla="*/ 424970 h 835213"/>
                    <a:gd name="connsiteX14" fmla="*/ 172614 w 835212"/>
                    <a:gd name="connsiteY14" fmla="*/ 421160 h 835213"/>
                    <a:gd name="connsiteX15" fmla="*/ 172614 w 835212"/>
                    <a:gd name="connsiteY15" fmla="*/ 396776 h 835213"/>
                    <a:gd name="connsiteX16" fmla="*/ 183796 w 835212"/>
                    <a:gd name="connsiteY16" fmla="*/ 392709 h 835213"/>
                    <a:gd name="connsiteX17" fmla="*/ 379230 w 835212"/>
                    <a:gd name="connsiteY17" fmla="*/ 392461 h 835213"/>
                    <a:gd name="connsiteX18" fmla="*/ 391041 w 835212"/>
                    <a:gd name="connsiteY18" fmla="*/ 408968 h 835213"/>
                    <a:gd name="connsiteX19" fmla="*/ 379354 w 835212"/>
                    <a:gd name="connsiteY19" fmla="*/ 425351 h 835213"/>
                    <a:gd name="connsiteX20" fmla="*/ 367667 w 835212"/>
                    <a:gd name="connsiteY20" fmla="*/ 408720 h 835213"/>
                    <a:gd name="connsiteX21" fmla="*/ 379230 w 835212"/>
                    <a:gd name="connsiteY21" fmla="*/ 392461 h 835213"/>
                    <a:gd name="connsiteX22" fmla="*/ 223705 w 835212"/>
                    <a:gd name="connsiteY22" fmla="*/ 379888 h 835213"/>
                    <a:gd name="connsiteX23" fmla="*/ 223705 w 835212"/>
                    <a:gd name="connsiteY23" fmla="*/ 437819 h 835213"/>
                    <a:gd name="connsiteX24" fmla="*/ 239069 w 835212"/>
                    <a:gd name="connsiteY24" fmla="*/ 437819 h 835213"/>
                    <a:gd name="connsiteX25" fmla="*/ 239069 w 835212"/>
                    <a:gd name="connsiteY25" fmla="*/ 379888 h 835213"/>
                    <a:gd name="connsiteX26" fmla="*/ 379601 w 835212"/>
                    <a:gd name="connsiteY26" fmla="*/ 378630 h 835213"/>
                    <a:gd name="connsiteX27" fmla="*/ 352045 w 835212"/>
                    <a:gd name="connsiteY27" fmla="*/ 408987 h 835213"/>
                    <a:gd name="connsiteX28" fmla="*/ 379096 w 835212"/>
                    <a:gd name="connsiteY28" fmla="*/ 439209 h 835213"/>
                    <a:gd name="connsiteX29" fmla="*/ 379096 w 835212"/>
                    <a:gd name="connsiteY29" fmla="*/ 439190 h 835213"/>
                    <a:gd name="connsiteX30" fmla="*/ 406785 w 835212"/>
                    <a:gd name="connsiteY30" fmla="*/ 408739 h 835213"/>
                    <a:gd name="connsiteX31" fmla="*/ 379601 w 835212"/>
                    <a:gd name="connsiteY31" fmla="*/ 378630 h 835213"/>
                    <a:gd name="connsiteX32" fmla="*/ 277188 w 835212"/>
                    <a:gd name="connsiteY32" fmla="*/ 378630 h 835213"/>
                    <a:gd name="connsiteX33" fmla="*/ 250385 w 835212"/>
                    <a:gd name="connsiteY33" fmla="*/ 408863 h 835213"/>
                    <a:gd name="connsiteX34" fmla="*/ 277188 w 835212"/>
                    <a:gd name="connsiteY34" fmla="*/ 439209 h 835213"/>
                    <a:gd name="connsiteX35" fmla="*/ 300429 w 835212"/>
                    <a:gd name="connsiteY35" fmla="*/ 426255 h 835213"/>
                    <a:gd name="connsiteX36" fmla="*/ 289761 w 835212"/>
                    <a:gd name="connsiteY36" fmla="*/ 418512 h 835213"/>
                    <a:gd name="connsiteX37" fmla="*/ 278455 w 835212"/>
                    <a:gd name="connsiteY37" fmla="*/ 425627 h 835213"/>
                    <a:gd name="connsiteX38" fmla="*/ 278455 w 835212"/>
                    <a:gd name="connsiteY38" fmla="*/ 425608 h 835213"/>
                    <a:gd name="connsiteX39" fmla="*/ 266006 w 835212"/>
                    <a:gd name="connsiteY39" fmla="*/ 408863 h 835213"/>
                    <a:gd name="connsiteX40" fmla="*/ 278455 w 835212"/>
                    <a:gd name="connsiteY40" fmla="*/ 392223 h 835213"/>
                    <a:gd name="connsiteX41" fmla="*/ 289761 w 835212"/>
                    <a:gd name="connsiteY41" fmla="*/ 399214 h 835213"/>
                    <a:gd name="connsiteX42" fmla="*/ 300429 w 835212"/>
                    <a:gd name="connsiteY42" fmla="*/ 391594 h 835213"/>
                    <a:gd name="connsiteX43" fmla="*/ 277188 w 835212"/>
                    <a:gd name="connsiteY43" fmla="*/ 378630 h 835213"/>
                    <a:gd name="connsiteX44" fmla="*/ 440094 w 835212"/>
                    <a:gd name="connsiteY44" fmla="*/ 378621 h 835213"/>
                    <a:gd name="connsiteX45" fmla="*/ 415710 w 835212"/>
                    <a:gd name="connsiteY45" fmla="*/ 408729 h 835213"/>
                    <a:gd name="connsiteX46" fmla="*/ 440218 w 835212"/>
                    <a:gd name="connsiteY46" fmla="*/ 439209 h 835213"/>
                    <a:gd name="connsiteX47" fmla="*/ 454572 w 835212"/>
                    <a:gd name="connsiteY47" fmla="*/ 432990 h 835213"/>
                    <a:gd name="connsiteX48" fmla="*/ 454572 w 835212"/>
                    <a:gd name="connsiteY48" fmla="*/ 442267 h 835213"/>
                    <a:gd name="connsiteX49" fmla="*/ 443780 w 835212"/>
                    <a:gd name="connsiteY49" fmla="*/ 451906 h 835213"/>
                    <a:gd name="connsiteX50" fmla="*/ 432979 w 835212"/>
                    <a:gd name="connsiteY50" fmla="*/ 444934 h 835213"/>
                    <a:gd name="connsiteX51" fmla="*/ 419768 w 835212"/>
                    <a:gd name="connsiteY51" fmla="*/ 444934 h 835213"/>
                    <a:gd name="connsiteX52" fmla="*/ 443780 w 835212"/>
                    <a:gd name="connsiteY52" fmla="*/ 464108 h 835213"/>
                    <a:gd name="connsiteX53" fmla="*/ 470069 w 835212"/>
                    <a:gd name="connsiteY53" fmla="*/ 441372 h 835213"/>
                    <a:gd name="connsiteX54" fmla="*/ 470041 w 835212"/>
                    <a:gd name="connsiteY54" fmla="*/ 379888 h 835213"/>
                    <a:gd name="connsiteX55" fmla="*/ 455458 w 835212"/>
                    <a:gd name="connsiteY55" fmla="*/ 379888 h 835213"/>
                    <a:gd name="connsiteX56" fmla="*/ 455458 w 835212"/>
                    <a:gd name="connsiteY56" fmla="*/ 384593 h 835213"/>
                    <a:gd name="connsiteX57" fmla="*/ 440094 w 835212"/>
                    <a:gd name="connsiteY57" fmla="*/ 378621 h 835213"/>
                    <a:gd name="connsiteX58" fmla="*/ 619650 w 835212"/>
                    <a:gd name="connsiteY58" fmla="*/ 378611 h 835213"/>
                    <a:gd name="connsiteX59" fmla="*/ 603391 w 835212"/>
                    <a:gd name="connsiteY59" fmla="*/ 386489 h 835213"/>
                    <a:gd name="connsiteX60" fmla="*/ 603391 w 835212"/>
                    <a:gd name="connsiteY60" fmla="*/ 379888 h 835213"/>
                    <a:gd name="connsiteX61" fmla="*/ 588522 w 835212"/>
                    <a:gd name="connsiteY61" fmla="*/ 379888 h 835213"/>
                    <a:gd name="connsiteX62" fmla="*/ 588522 w 835212"/>
                    <a:gd name="connsiteY62" fmla="*/ 437800 h 835213"/>
                    <a:gd name="connsiteX63" fmla="*/ 603886 w 835212"/>
                    <a:gd name="connsiteY63" fmla="*/ 437800 h 835213"/>
                    <a:gd name="connsiteX64" fmla="*/ 603886 w 835212"/>
                    <a:gd name="connsiteY64" fmla="*/ 397033 h 835213"/>
                    <a:gd name="connsiteX65" fmla="*/ 615192 w 835212"/>
                    <a:gd name="connsiteY65" fmla="*/ 392708 h 835213"/>
                    <a:gd name="connsiteX66" fmla="*/ 625860 w 835212"/>
                    <a:gd name="connsiteY66" fmla="*/ 398309 h 835213"/>
                    <a:gd name="connsiteX67" fmla="*/ 625860 w 835212"/>
                    <a:gd name="connsiteY67" fmla="*/ 437819 h 835213"/>
                    <a:gd name="connsiteX68" fmla="*/ 641234 w 835212"/>
                    <a:gd name="connsiteY68" fmla="*/ 437819 h 835213"/>
                    <a:gd name="connsiteX69" fmla="*/ 641234 w 835212"/>
                    <a:gd name="connsiteY69" fmla="*/ 397052 h 835213"/>
                    <a:gd name="connsiteX70" fmla="*/ 652911 w 835212"/>
                    <a:gd name="connsiteY70" fmla="*/ 392727 h 835213"/>
                    <a:gd name="connsiteX71" fmla="*/ 662560 w 835212"/>
                    <a:gd name="connsiteY71" fmla="*/ 401624 h 835213"/>
                    <a:gd name="connsiteX72" fmla="*/ 662560 w 835212"/>
                    <a:gd name="connsiteY72" fmla="*/ 437819 h 835213"/>
                    <a:gd name="connsiteX73" fmla="*/ 678057 w 835212"/>
                    <a:gd name="connsiteY73" fmla="*/ 437819 h 835213"/>
                    <a:gd name="connsiteX74" fmla="*/ 678067 w 835212"/>
                    <a:gd name="connsiteY74" fmla="*/ 400328 h 835213"/>
                    <a:gd name="connsiteX75" fmla="*/ 657369 w 835212"/>
                    <a:gd name="connsiteY75" fmla="*/ 378611 h 835213"/>
                    <a:gd name="connsiteX76" fmla="*/ 637300 w 835212"/>
                    <a:gd name="connsiteY76" fmla="*/ 387127 h 835213"/>
                    <a:gd name="connsiteX77" fmla="*/ 619650 w 835212"/>
                    <a:gd name="connsiteY77" fmla="*/ 378611 h 835213"/>
                    <a:gd name="connsiteX78" fmla="*/ 551537 w 835212"/>
                    <a:gd name="connsiteY78" fmla="*/ 378611 h 835213"/>
                    <a:gd name="connsiteX79" fmla="*/ 527915 w 835212"/>
                    <a:gd name="connsiteY79" fmla="*/ 394613 h 835213"/>
                    <a:gd name="connsiteX80" fmla="*/ 528296 w 835212"/>
                    <a:gd name="connsiteY80" fmla="*/ 398557 h 835213"/>
                    <a:gd name="connsiteX81" fmla="*/ 541631 w 835212"/>
                    <a:gd name="connsiteY81" fmla="*/ 398557 h 835213"/>
                    <a:gd name="connsiteX82" fmla="*/ 541631 w 835212"/>
                    <a:gd name="connsiteY82" fmla="*/ 396290 h 835213"/>
                    <a:gd name="connsiteX83" fmla="*/ 550518 w 835212"/>
                    <a:gd name="connsiteY83" fmla="*/ 390699 h 835213"/>
                    <a:gd name="connsiteX84" fmla="*/ 559785 w 835212"/>
                    <a:gd name="connsiteY84" fmla="*/ 398700 h 835213"/>
                    <a:gd name="connsiteX85" fmla="*/ 559785 w 835212"/>
                    <a:gd name="connsiteY85" fmla="*/ 402386 h 835213"/>
                    <a:gd name="connsiteX86" fmla="*/ 553442 w 835212"/>
                    <a:gd name="connsiteY86" fmla="*/ 402891 h 835213"/>
                    <a:gd name="connsiteX87" fmla="*/ 525372 w 835212"/>
                    <a:gd name="connsiteY87" fmla="*/ 422322 h 835213"/>
                    <a:gd name="connsiteX88" fmla="*/ 525380 w 835212"/>
                    <a:gd name="connsiteY88" fmla="*/ 424512 h 835213"/>
                    <a:gd name="connsiteX89" fmla="*/ 542393 w 835212"/>
                    <a:gd name="connsiteY89" fmla="*/ 439209 h 835213"/>
                    <a:gd name="connsiteX90" fmla="*/ 560805 w 835212"/>
                    <a:gd name="connsiteY90" fmla="*/ 431085 h 835213"/>
                    <a:gd name="connsiteX91" fmla="*/ 560805 w 835212"/>
                    <a:gd name="connsiteY91" fmla="*/ 437819 h 835213"/>
                    <a:gd name="connsiteX92" fmla="*/ 575283 w 835212"/>
                    <a:gd name="connsiteY92" fmla="*/ 437819 h 835213"/>
                    <a:gd name="connsiteX93" fmla="*/ 575283 w 835212"/>
                    <a:gd name="connsiteY93" fmla="*/ 398557 h 835213"/>
                    <a:gd name="connsiteX94" fmla="*/ 551537 w 835212"/>
                    <a:gd name="connsiteY94" fmla="*/ 378611 h 835213"/>
                    <a:gd name="connsiteX95" fmla="*/ 514046 w 835212"/>
                    <a:gd name="connsiteY95" fmla="*/ 378611 h 835213"/>
                    <a:gd name="connsiteX96" fmla="*/ 498549 w 835212"/>
                    <a:gd name="connsiteY96" fmla="*/ 389032 h 835213"/>
                    <a:gd name="connsiteX97" fmla="*/ 498425 w 835212"/>
                    <a:gd name="connsiteY97" fmla="*/ 389032 h 835213"/>
                    <a:gd name="connsiteX98" fmla="*/ 498425 w 835212"/>
                    <a:gd name="connsiteY98" fmla="*/ 379888 h 835213"/>
                    <a:gd name="connsiteX99" fmla="*/ 483690 w 835212"/>
                    <a:gd name="connsiteY99" fmla="*/ 379888 h 835213"/>
                    <a:gd name="connsiteX100" fmla="*/ 483690 w 835212"/>
                    <a:gd name="connsiteY100" fmla="*/ 437800 h 835213"/>
                    <a:gd name="connsiteX101" fmla="*/ 499054 w 835212"/>
                    <a:gd name="connsiteY101" fmla="*/ 437800 h 835213"/>
                    <a:gd name="connsiteX102" fmla="*/ 499054 w 835212"/>
                    <a:gd name="connsiteY102" fmla="*/ 401367 h 835213"/>
                    <a:gd name="connsiteX103" fmla="*/ 510236 w 835212"/>
                    <a:gd name="connsiteY103" fmla="*/ 394509 h 835213"/>
                    <a:gd name="connsiteX104" fmla="*/ 519504 w 835212"/>
                    <a:gd name="connsiteY104" fmla="*/ 395652 h 835213"/>
                    <a:gd name="connsiteX105" fmla="*/ 520647 w 835212"/>
                    <a:gd name="connsiteY105" fmla="*/ 379383 h 835213"/>
                    <a:gd name="connsiteX106" fmla="*/ 514046 w 835212"/>
                    <a:gd name="connsiteY106" fmla="*/ 378611 h 835213"/>
                    <a:gd name="connsiteX107" fmla="*/ 188110 w 835212"/>
                    <a:gd name="connsiteY107" fmla="*/ 378611 h 835213"/>
                    <a:gd name="connsiteX108" fmla="*/ 171851 w 835212"/>
                    <a:gd name="connsiteY108" fmla="*/ 384707 h 835213"/>
                    <a:gd name="connsiteX109" fmla="*/ 171851 w 835212"/>
                    <a:gd name="connsiteY109" fmla="*/ 379888 h 835213"/>
                    <a:gd name="connsiteX110" fmla="*/ 157249 w 835212"/>
                    <a:gd name="connsiteY110" fmla="*/ 379888 h 835213"/>
                    <a:gd name="connsiteX111" fmla="*/ 157249 w 835212"/>
                    <a:gd name="connsiteY111" fmla="*/ 465232 h 835213"/>
                    <a:gd name="connsiteX112" fmla="*/ 172613 w 835212"/>
                    <a:gd name="connsiteY112" fmla="*/ 465232 h 835213"/>
                    <a:gd name="connsiteX113" fmla="*/ 172613 w 835212"/>
                    <a:gd name="connsiteY113" fmla="*/ 433628 h 835213"/>
                    <a:gd name="connsiteX114" fmla="*/ 187977 w 835212"/>
                    <a:gd name="connsiteY114" fmla="*/ 439209 h 835213"/>
                    <a:gd name="connsiteX115" fmla="*/ 187977 w 835212"/>
                    <a:gd name="connsiteY115" fmla="*/ 439190 h 835213"/>
                    <a:gd name="connsiteX116" fmla="*/ 212237 w 835212"/>
                    <a:gd name="connsiteY116" fmla="*/ 409091 h 835213"/>
                    <a:gd name="connsiteX117" fmla="*/ 188110 w 835212"/>
                    <a:gd name="connsiteY117" fmla="*/ 378611 h 835213"/>
                    <a:gd name="connsiteX118" fmla="*/ 330938 w 835212"/>
                    <a:gd name="connsiteY118" fmla="*/ 363371 h 835213"/>
                    <a:gd name="connsiteX119" fmla="*/ 315574 w 835212"/>
                    <a:gd name="connsiteY119" fmla="*/ 365791 h 835213"/>
                    <a:gd name="connsiteX120" fmla="*/ 315574 w 835212"/>
                    <a:gd name="connsiteY120" fmla="*/ 379888 h 835213"/>
                    <a:gd name="connsiteX121" fmla="*/ 305030 w 835212"/>
                    <a:gd name="connsiteY121" fmla="*/ 381155 h 835213"/>
                    <a:gd name="connsiteX122" fmla="*/ 305030 w 835212"/>
                    <a:gd name="connsiteY122" fmla="*/ 392842 h 835213"/>
                    <a:gd name="connsiteX123" fmla="*/ 315574 w 835212"/>
                    <a:gd name="connsiteY123" fmla="*/ 392842 h 835213"/>
                    <a:gd name="connsiteX124" fmla="*/ 315574 w 835212"/>
                    <a:gd name="connsiteY124" fmla="*/ 420931 h 835213"/>
                    <a:gd name="connsiteX125" fmla="*/ 332081 w 835212"/>
                    <a:gd name="connsiteY125" fmla="*/ 439209 h 835213"/>
                    <a:gd name="connsiteX126" fmla="*/ 332081 w 835212"/>
                    <a:gd name="connsiteY126" fmla="*/ 439190 h 835213"/>
                    <a:gd name="connsiteX127" fmla="*/ 344435 w 835212"/>
                    <a:gd name="connsiteY127" fmla="*/ 437285 h 835213"/>
                    <a:gd name="connsiteX128" fmla="*/ 344187 w 835212"/>
                    <a:gd name="connsiteY128" fmla="*/ 423950 h 835213"/>
                    <a:gd name="connsiteX129" fmla="*/ 337329 w 835212"/>
                    <a:gd name="connsiteY129" fmla="*/ 424970 h 835213"/>
                    <a:gd name="connsiteX130" fmla="*/ 335749 w 835212"/>
                    <a:gd name="connsiteY130" fmla="*/ 424986 h 835213"/>
                    <a:gd name="connsiteX131" fmla="*/ 330976 w 835212"/>
                    <a:gd name="connsiteY131" fmla="*/ 418750 h 835213"/>
                    <a:gd name="connsiteX132" fmla="*/ 330976 w 835212"/>
                    <a:gd name="connsiteY132" fmla="*/ 392842 h 835213"/>
                    <a:gd name="connsiteX133" fmla="*/ 343892 w 835212"/>
                    <a:gd name="connsiteY133" fmla="*/ 392842 h 835213"/>
                    <a:gd name="connsiteX134" fmla="*/ 343892 w 835212"/>
                    <a:gd name="connsiteY134" fmla="*/ 379888 h 835213"/>
                    <a:gd name="connsiteX135" fmla="*/ 330938 w 835212"/>
                    <a:gd name="connsiteY135" fmla="*/ 379888 h 835213"/>
                    <a:gd name="connsiteX136" fmla="*/ 229506 w 835212"/>
                    <a:gd name="connsiteY136" fmla="*/ 350928 h 835213"/>
                    <a:gd name="connsiteX137" fmla="*/ 221800 w 835212"/>
                    <a:gd name="connsiteY137" fmla="*/ 360095 h 835213"/>
                    <a:gd name="connsiteX138" fmla="*/ 221854 w 835212"/>
                    <a:gd name="connsiteY138" fmla="*/ 362035 h 835213"/>
                    <a:gd name="connsiteX139" fmla="*/ 231192 w 835212"/>
                    <a:gd name="connsiteY139" fmla="*/ 368982 h 835213"/>
                    <a:gd name="connsiteX140" fmla="*/ 231192 w 835212"/>
                    <a:gd name="connsiteY140" fmla="*/ 368963 h 835213"/>
                    <a:gd name="connsiteX141" fmla="*/ 232649 w 835212"/>
                    <a:gd name="connsiteY141" fmla="*/ 368986 h 835213"/>
                    <a:gd name="connsiteX142" fmla="*/ 240346 w 835212"/>
                    <a:gd name="connsiteY142" fmla="*/ 360095 h 835213"/>
                    <a:gd name="connsiteX143" fmla="*/ 240345 w 835212"/>
                    <a:gd name="connsiteY143" fmla="*/ 358901 h 835213"/>
                    <a:gd name="connsiteX144" fmla="*/ 231192 w 835212"/>
                    <a:gd name="connsiteY144" fmla="*/ 350951 h 835213"/>
                    <a:gd name="connsiteX145" fmla="*/ 229506 w 835212"/>
                    <a:gd name="connsiteY145" fmla="*/ 350928 h 835213"/>
                    <a:gd name="connsiteX146" fmla="*/ 422536 w 835212"/>
                    <a:gd name="connsiteY146" fmla="*/ 652 h 835213"/>
                    <a:gd name="connsiteX147" fmla="*/ 434103 w 835212"/>
                    <a:gd name="connsiteY147" fmla="*/ 9527 h 835213"/>
                    <a:gd name="connsiteX148" fmla="*/ 488015 w 835212"/>
                    <a:gd name="connsiteY148" fmla="*/ 102796 h 835213"/>
                    <a:gd name="connsiteX149" fmla="*/ 514018 w 835212"/>
                    <a:gd name="connsiteY149" fmla="*/ 109759 h 835213"/>
                    <a:gd name="connsiteX150" fmla="*/ 607363 w 835212"/>
                    <a:gd name="connsiteY150" fmla="*/ 55962 h 835213"/>
                    <a:gd name="connsiteX151" fmla="*/ 616878 w 835212"/>
                    <a:gd name="connsiteY151" fmla="*/ 53409 h 835213"/>
                    <a:gd name="connsiteX152" fmla="*/ 635938 w 835212"/>
                    <a:gd name="connsiteY152" fmla="*/ 72449 h 835213"/>
                    <a:gd name="connsiteX153" fmla="*/ 635995 w 835212"/>
                    <a:gd name="connsiteY153" fmla="*/ 180168 h 835213"/>
                    <a:gd name="connsiteX154" fmla="*/ 655045 w 835212"/>
                    <a:gd name="connsiteY154" fmla="*/ 199218 h 835213"/>
                    <a:gd name="connsiteX155" fmla="*/ 762763 w 835212"/>
                    <a:gd name="connsiteY155" fmla="*/ 199275 h 835213"/>
                    <a:gd name="connsiteX156" fmla="*/ 772278 w 835212"/>
                    <a:gd name="connsiteY156" fmla="*/ 201827 h 835213"/>
                    <a:gd name="connsiteX157" fmla="*/ 779251 w 835212"/>
                    <a:gd name="connsiteY157" fmla="*/ 227850 h 835213"/>
                    <a:gd name="connsiteX158" fmla="*/ 725454 w 835212"/>
                    <a:gd name="connsiteY158" fmla="*/ 321195 h 835213"/>
                    <a:gd name="connsiteX159" fmla="*/ 732417 w 835212"/>
                    <a:gd name="connsiteY159" fmla="*/ 347198 h 835213"/>
                    <a:gd name="connsiteX160" fmla="*/ 825685 w 835212"/>
                    <a:gd name="connsiteY160" fmla="*/ 401109 h 835213"/>
                    <a:gd name="connsiteX161" fmla="*/ 832657 w 835212"/>
                    <a:gd name="connsiteY161" fmla="*/ 408081 h 835213"/>
                    <a:gd name="connsiteX162" fmla="*/ 825685 w 835212"/>
                    <a:gd name="connsiteY162" fmla="*/ 434104 h 835213"/>
                    <a:gd name="connsiteX163" fmla="*/ 732417 w 835212"/>
                    <a:gd name="connsiteY163" fmla="*/ 488016 h 835213"/>
                    <a:gd name="connsiteX164" fmla="*/ 725454 w 835212"/>
                    <a:gd name="connsiteY164" fmla="*/ 514019 h 835213"/>
                    <a:gd name="connsiteX165" fmla="*/ 779251 w 835212"/>
                    <a:gd name="connsiteY165" fmla="*/ 607364 h 835213"/>
                    <a:gd name="connsiteX166" fmla="*/ 781803 w 835212"/>
                    <a:gd name="connsiteY166" fmla="*/ 616879 h 835213"/>
                    <a:gd name="connsiteX167" fmla="*/ 762763 w 835212"/>
                    <a:gd name="connsiteY167" fmla="*/ 635939 h 835213"/>
                    <a:gd name="connsiteX168" fmla="*/ 655045 w 835212"/>
                    <a:gd name="connsiteY168" fmla="*/ 635996 h 835213"/>
                    <a:gd name="connsiteX169" fmla="*/ 635995 w 835212"/>
                    <a:gd name="connsiteY169" fmla="*/ 655046 h 835213"/>
                    <a:gd name="connsiteX170" fmla="*/ 635938 w 835212"/>
                    <a:gd name="connsiteY170" fmla="*/ 762764 h 835213"/>
                    <a:gd name="connsiteX171" fmla="*/ 633386 w 835212"/>
                    <a:gd name="connsiteY171" fmla="*/ 772279 h 835213"/>
                    <a:gd name="connsiteX172" fmla="*/ 607363 w 835212"/>
                    <a:gd name="connsiteY172" fmla="*/ 779252 h 835213"/>
                    <a:gd name="connsiteX173" fmla="*/ 514018 w 835212"/>
                    <a:gd name="connsiteY173" fmla="*/ 725455 h 835213"/>
                    <a:gd name="connsiteX174" fmla="*/ 488015 w 835212"/>
                    <a:gd name="connsiteY174" fmla="*/ 732418 h 835213"/>
                    <a:gd name="connsiteX175" fmla="*/ 434103 w 835212"/>
                    <a:gd name="connsiteY175" fmla="*/ 825686 h 835213"/>
                    <a:gd name="connsiteX176" fmla="*/ 427132 w 835212"/>
                    <a:gd name="connsiteY176" fmla="*/ 832658 h 835213"/>
                    <a:gd name="connsiteX177" fmla="*/ 401108 w 835212"/>
                    <a:gd name="connsiteY177" fmla="*/ 825686 h 835213"/>
                    <a:gd name="connsiteX178" fmla="*/ 347197 w 835212"/>
                    <a:gd name="connsiteY178" fmla="*/ 732418 h 835213"/>
                    <a:gd name="connsiteX179" fmla="*/ 321194 w 835212"/>
                    <a:gd name="connsiteY179" fmla="*/ 725455 h 835213"/>
                    <a:gd name="connsiteX180" fmla="*/ 227849 w 835212"/>
                    <a:gd name="connsiteY180" fmla="*/ 779252 h 835213"/>
                    <a:gd name="connsiteX181" fmla="*/ 218334 w 835212"/>
                    <a:gd name="connsiteY181" fmla="*/ 781804 h 835213"/>
                    <a:gd name="connsiteX182" fmla="*/ 199274 w 835212"/>
                    <a:gd name="connsiteY182" fmla="*/ 762764 h 835213"/>
                    <a:gd name="connsiteX183" fmla="*/ 199217 w 835212"/>
                    <a:gd name="connsiteY183" fmla="*/ 655046 h 835213"/>
                    <a:gd name="connsiteX184" fmla="*/ 180167 w 835212"/>
                    <a:gd name="connsiteY184" fmla="*/ 635996 h 835213"/>
                    <a:gd name="connsiteX185" fmla="*/ 72448 w 835212"/>
                    <a:gd name="connsiteY185" fmla="*/ 635939 h 835213"/>
                    <a:gd name="connsiteX186" fmla="*/ 62933 w 835212"/>
                    <a:gd name="connsiteY186" fmla="*/ 633387 h 835213"/>
                    <a:gd name="connsiteX187" fmla="*/ 55961 w 835212"/>
                    <a:gd name="connsiteY187" fmla="*/ 607364 h 835213"/>
                    <a:gd name="connsiteX188" fmla="*/ 109758 w 835212"/>
                    <a:gd name="connsiteY188" fmla="*/ 514019 h 835213"/>
                    <a:gd name="connsiteX189" fmla="*/ 102795 w 835212"/>
                    <a:gd name="connsiteY189" fmla="*/ 488016 h 835213"/>
                    <a:gd name="connsiteX190" fmla="*/ 9526 w 835212"/>
                    <a:gd name="connsiteY190" fmla="*/ 434104 h 835213"/>
                    <a:gd name="connsiteX191" fmla="*/ 2555 w 835212"/>
                    <a:gd name="connsiteY191" fmla="*/ 427133 h 835213"/>
                    <a:gd name="connsiteX192" fmla="*/ 9526 w 835212"/>
                    <a:gd name="connsiteY192" fmla="*/ 401109 h 835213"/>
                    <a:gd name="connsiteX193" fmla="*/ 102795 w 835212"/>
                    <a:gd name="connsiteY193" fmla="*/ 347198 h 835213"/>
                    <a:gd name="connsiteX194" fmla="*/ 109758 w 835212"/>
                    <a:gd name="connsiteY194" fmla="*/ 321195 h 835213"/>
                    <a:gd name="connsiteX195" fmla="*/ 55961 w 835212"/>
                    <a:gd name="connsiteY195" fmla="*/ 227850 h 835213"/>
                    <a:gd name="connsiteX196" fmla="*/ 53408 w 835212"/>
                    <a:gd name="connsiteY196" fmla="*/ 218335 h 835213"/>
                    <a:gd name="connsiteX197" fmla="*/ 72448 w 835212"/>
                    <a:gd name="connsiteY197" fmla="*/ 199275 h 835213"/>
                    <a:gd name="connsiteX198" fmla="*/ 180167 w 835212"/>
                    <a:gd name="connsiteY198" fmla="*/ 199218 h 835213"/>
                    <a:gd name="connsiteX199" fmla="*/ 199217 w 835212"/>
                    <a:gd name="connsiteY199" fmla="*/ 180168 h 835213"/>
                    <a:gd name="connsiteX200" fmla="*/ 199274 w 835212"/>
                    <a:gd name="connsiteY200" fmla="*/ 72449 h 835213"/>
                    <a:gd name="connsiteX201" fmla="*/ 201826 w 835212"/>
                    <a:gd name="connsiteY201" fmla="*/ 62934 h 835213"/>
                    <a:gd name="connsiteX202" fmla="*/ 227849 w 835212"/>
                    <a:gd name="connsiteY202" fmla="*/ 55962 h 835213"/>
                    <a:gd name="connsiteX203" fmla="*/ 321194 w 835212"/>
                    <a:gd name="connsiteY203" fmla="*/ 109759 h 835213"/>
                    <a:gd name="connsiteX204" fmla="*/ 347197 w 835212"/>
                    <a:gd name="connsiteY204" fmla="*/ 102796 h 835213"/>
                    <a:gd name="connsiteX205" fmla="*/ 401109 w 835212"/>
                    <a:gd name="connsiteY205" fmla="*/ 9527 h 835213"/>
                    <a:gd name="connsiteX206" fmla="*/ 408080 w 835212"/>
                    <a:gd name="connsiteY206" fmla="*/ 2556 h 835213"/>
                    <a:gd name="connsiteX207" fmla="*/ 422536 w 835212"/>
                    <a:gd name="connsiteY207" fmla="*/ 652 h 835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</a:cxnLst>
                  <a:rect l="l" t="t" r="r" b="b"/>
                  <a:pathLst>
                    <a:path w="835212" h="835213">
                      <a:moveTo>
                        <a:pt x="559786" y="411635"/>
                      </a:moveTo>
                      <a:lnTo>
                        <a:pt x="559786" y="422550"/>
                      </a:lnTo>
                      <a:cubicBezTo>
                        <a:pt x="556714" y="425624"/>
                        <a:pt x="552576" y="427398"/>
                        <a:pt x="548232" y="427503"/>
                      </a:cubicBezTo>
                      <a:cubicBezTo>
                        <a:pt x="543660" y="427503"/>
                        <a:pt x="540993" y="425351"/>
                        <a:pt x="540993" y="421284"/>
                      </a:cubicBezTo>
                      <a:cubicBezTo>
                        <a:pt x="540993" y="416331"/>
                        <a:pt x="545289" y="413673"/>
                        <a:pt x="553566" y="412521"/>
                      </a:cubicBezTo>
                      <a:close/>
                      <a:moveTo>
                        <a:pt x="443780" y="392709"/>
                      </a:moveTo>
                      <a:cubicBezTo>
                        <a:pt x="447707" y="392579"/>
                        <a:pt x="451545" y="393890"/>
                        <a:pt x="454572" y="396395"/>
                      </a:cubicBezTo>
                      <a:lnTo>
                        <a:pt x="454572" y="421036"/>
                      </a:lnTo>
                      <a:cubicBezTo>
                        <a:pt x="451589" y="423644"/>
                        <a:pt x="447742" y="425047"/>
                        <a:pt x="443780" y="424970"/>
                      </a:cubicBezTo>
                      <a:cubicBezTo>
                        <a:pt x="433998" y="424970"/>
                        <a:pt x="431198" y="417855"/>
                        <a:pt x="431198" y="408720"/>
                      </a:cubicBezTo>
                      <a:cubicBezTo>
                        <a:pt x="431198" y="399443"/>
                        <a:pt x="434122" y="392709"/>
                        <a:pt x="443780" y="392709"/>
                      </a:cubicBezTo>
                      <a:close/>
                      <a:moveTo>
                        <a:pt x="183796" y="392709"/>
                      </a:moveTo>
                      <a:cubicBezTo>
                        <a:pt x="193569" y="392709"/>
                        <a:pt x="196493" y="399815"/>
                        <a:pt x="196493" y="409092"/>
                      </a:cubicBezTo>
                      <a:cubicBezTo>
                        <a:pt x="196493" y="418369"/>
                        <a:pt x="193445" y="424970"/>
                        <a:pt x="183663" y="424970"/>
                      </a:cubicBezTo>
                      <a:cubicBezTo>
                        <a:pt x="179644" y="425056"/>
                        <a:pt x="175726" y="423705"/>
                        <a:pt x="172614" y="421160"/>
                      </a:cubicBezTo>
                      <a:lnTo>
                        <a:pt x="172614" y="396776"/>
                      </a:lnTo>
                      <a:cubicBezTo>
                        <a:pt x="175648" y="393980"/>
                        <a:pt x="179675" y="392515"/>
                        <a:pt x="183796" y="392709"/>
                      </a:cubicBezTo>
                      <a:close/>
                      <a:moveTo>
                        <a:pt x="379230" y="392461"/>
                      </a:moveTo>
                      <a:cubicBezTo>
                        <a:pt x="387355" y="392461"/>
                        <a:pt x="391041" y="398042"/>
                        <a:pt x="391041" y="408968"/>
                      </a:cubicBezTo>
                      <a:cubicBezTo>
                        <a:pt x="391041" y="419502"/>
                        <a:pt x="387231" y="425351"/>
                        <a:pt x="379354" y="425351"/>
                      </a:cubicBezTo>
                      <a:cubicBezTo>
                        <a:pt x="371477" y="425351"/>
                        <a:pt x="367667" y="419883"/>
                        <a:pt x="367667" y="408720"/>
                      </a:cubicBezTo>
                      <a:cubicBezTo>
                        <a:pt x="367667" y="398042"/>
                        <a:pt x="371353" y="392461"/>
                        <a:pt x="379230" y="392461"/>
                      </a:cubicBezTo>
                      <a:close/>
                      <a:moveTo>
                        <a:pt x="223705" y="379888"/>
                      </a:moveTo>
                      <a:lnTo>
                        <a:pt x="223705" y="437819"/>
                      </a:lnTo>
                      <a:lnTo>
                        <a:pt x="239069" y="437819"/>
                      </a:lnTo>
                      <a:lnTo>
                        <a:pt x="239069" y="379888"/>
                      </a:lnTo>
                      <a:close/>
                      <a:moveTo>
                        <a:pt x="379601" y="378630"/>
                      </a:moveTo>
                      <a:cubicBezTo>
                        <a:pt x="360561" y="378630"/>
                        <a:pt x="352045" y="391337"/>
                        <a:pt x="352045" y="408987"/>
                      </a:cubicBezTo>
                      <a:cubicBezTo>
                        <a:pt x="352045" y="426255"/>
                        <a:pt x="360932" y="439209"/>
                        <a:pt x="379096" y="439209"/>
                      </a:cubicBezTo>
                      <a:lnTo>
                        <a:pt x="379096" y="439190"/>
                      </a:lnTo>
                      <a:cubicBezTo>
                        <a:pt x="398146" y="439190"/>
                        <a:pt x="406785" y="426494"/>
                        <a:pt x="406785" y="408739"/>
                      </a:cubicBezTo>
                      <a:cubicBezTo>
                        <a:pt x="406785" y="391337"/>
                        <a:pt x="397899" y="378630"/>
                        <a:pt x="379601" y="378630"/>
                      </a:cubicBezTo>
                      <a:close/>
                      <a:moveTo>
                        <a:pt x="277188" y="378630"/>
                      </a:moveTo>
                      <a:cubicBezTo>
                        <a:pt x="258005" y="378630"/>
                        <a:pt x="250385" y="392489"/>
                        <a:pt x="250385" y="408863"/>
                      </a:cubicBezTo>
                      <a:cubicBezTo>
                        <a:pt x="250385" y="425236"/>
                        <a:pt x="258014" y="439209"/>
                        <a:pt x="277188" y="439209"/>
                      </a:cubicBezTo>
                      <a:cubicBezTo>
                        <a:pt x="286845" y="440002"/>
                        <a:pt x="296025" y="434886"/>
                        <a:pt x="300429" y="426255"/>
                      </a:cubicBezTo>
                      <a:lnTo>
                        <a:pt x="289761" y="418512"/>
                      </a:lnTo>
                      <a:cubicBezTo>
                        <a:pt x="287665" y="422852"/>
                        <a:pt x="283275" y="425614"/>
                        <a:pt x="278455" y="425627"/>
                      </a:cubicBezTo>
                      <a:lnTo>
                        <a:pt x="278455" y="425608"/>
                      </a:lnTo>
                      <a:cubicBezTo>
                        <a:pt x="269435" y="425608"/>
                        <a:pt x="266006" y="418512"/>
                        <a:pt x="266006" y="408863"/>
                      </a:cubicBezTo>
                      <a:cubicBezTo>
                        <a:pt x="266006" y="399214"/>
                        <a:pt x="269435" y="392223"/>
                        <a:pt x="278455" y="392223"/>
                      </a:cubicBezTo>
                      <a:cubicBezTo>
                        <a:pt x="283245" y="392221"/>
                        <a:pt x="287623" y="394928"/>
                        <a:pt x="289761" y="399214"/>
                      </a:cubicBezTo>
                      <a:lnTo>
                        <a:pt x="300429" y="391594"/>
                      </a:lnTo>
                      <a:cubicBezTo>
                        <a:pt x="296023" y="382964"/>
                        <a:pt x="286846" y="377845"/>
                        <a:pt x="277188" y="378630"/>
                      </a:cubicBezTo>
                      <a:close/>
                      <a:moveTo>
                        <a:pt x="440094" y="378621"/>
                      </a:moveTo>
                      <a:cubicBezTo>
                        <a:pt x="424473" y="378621"/>
                        <a:pt x="415710" y="389422"/>
                        <a:pt x="415710" y="408729"/>
                      </a:cubicBezTo>
                      <a:cubicBezTo>
                        <a:pt x="415710" y="428418"/>
                        <a:pt x="424216" y="439209"/>
                        <a:pt x="440218" y="439209"/>
                      </a:cubicBezTo>
                      <a:cubicBezTo>
                        <a:pt x="445633" y="439098"/>
                        <a:pt x="450788" y="436864"/>
                        <a:pt x="454572" y="432990"/>
                      </a:cubicBezTo>
                      <a:lnTo>
                        <a:pt x="454572" y="442267"/>
                      </a:lnTo>
                      <a:cubicBezTo>
                        <a:pt x="454572" y="448230"/>
                        <a:pt x="450896" y="451906"/>
                        <a:pt x="443780" y="451906"/>
                      </a:cubicBezTo>
                      <a:cubicBezTo>
                        <a:pt x="436665" y="451906"/>
                        <a:pt x="432979" y="448353"/>
                        <a:pt x="432979" y="444934"/>
                      </a:cubicBezTo>
                      <a:lnTo>
                        <a:pt x="419768" y="444934"/>
                      </a:lnTo>
                      <a:cubicBezTo>
                        <a:pt x="419768" y="455973"/>
                        <a:pt x="427778" y="464108"/>
                        <a:pt x="443780" y="464108"/>
                      </a:cubicBezTo>
                      <a:cubicBezTo>
                        <a:pt x="460154" y="464108"/>
                        <a:pt x="470069" y="454707"/>
                        <a:pt x="470069" y="441372"/>
                      </a:cubicBezTo>
                      <a:lnTo>
                        <a:pt x="470041" y="379888"/>
                      </a:lnTo>
                      <a:lnTo>
                        <a:pt x="455458" y="379888"/>
                      </a:lnTo>
                      <a:lnTo>
                        <a:pt x="455458" y="384593"/>
                      </a:lnTo>
                      <a:cubicBezTo>
                        <a:pt x="451406" y="380528"/>
                        <a:pt x="445828" y="378360"/>
                        <a:pt x="440094" y="378621"/>
                      </a:cubicBezTo>
                      <a:close/>
                      <a:moveTo>
                        <a:pt x="619650" y="378611"/>
                      </a:moveTo>
                      <a:cubicBezTo>
                        <a:pt x="613295" y="378543"/>
                        <a:pt x="607276" y="381459"/>
                        <a:pt x="603391" y="386489"/>
                      </a:cubicBezTo>
                      <a:lnTo>
                        <a:pt x="603391" y="379888"/>
                      </a:lnTo>
                      <a:lnTo>
                        <a:pt x="588522" y="379888"/>
                      </a:lnTo>
                      <a:lnTo>
                        <a:pt x="588522" y="437800"/>
                      </a:lnTo>
                      <a:lnTo>
                        <a:pt x="603886" y="437800"/>
                      </a:lnTo>
                      <a:lnTo>
                        <a:pt x="603886" y="397033"/>
                      </a:lnTo>
                      <a:cubicBezTo>
                        <a:pt x="607035" y="394316"/>
                        <a:pt x="611035" y="392787"/>
                        <a:pt x="615192" y="392708"/>
                      </a:cubicBezTo>
                      <a:cubicBezTo>
                        <a:pt x="619518" y="392422"/>
                        <a:pt x="623640" y="394586"/>
                        <a:pt x="625860" y="398309"/>
                      </a:cubicBezTo>
                      <a:lnTo>
                        <a:pt x="625860" y="437819"/>
                      </a:lnTo>
                      <a:lnTo>
                        <a:pt x="641234" y="437819"/>
                      </a:lnTo>
                      <a:lnTo>
                        <a:pt x="641234" y="397052"/>
                      </a:lnTo>
                      <a:cubicBezTo>
                        <a:pt x="644438" y="394184"/>
                        <a:pt x="648612" y="392638"/>
                        <a:pt x="652911" y="392727"/>
                      </a:cubicBezTo>
                      <a:cubicBezTo>
                        <a:pt x="660027" y="392727"/>
                        <a:pt x="662560" y="396023"/>
                        <a:pt x="662560" y="401624"/>
                      </a:cubicBezTo>
                      <a:lnTo>
                        <a:pt x="662560" y="437819"/>
                      </a:lnTo>
                      <a:lnTo>
                        <a:pt x="678057" y="437819"/>
                      </a:lnTo>
                      <a:lnTo>
                        <a:pt x="678067" y="400328"/>
                      </a:lnTo>
                      <a:cubicBezTo>
                        <a:pt x="678067" y="386231"/>
                        <a:pt x="671971" y="378611"/>
                        <a:pt x="657369" y="378611"/>
                      </a:cubicBezTo>
                      <a:cubicBezTo>
                        <a:pt x="649731" y="378240"/>
                        <a:pt x="642341" y="381376"/>
                        <a:pt x="637300" y="387127"/>
                      </a:cubicBezTo>
                      <a:cubicBezTo>
                        <a:pt x="633370" y="381328"/>
                        <a:pt x="626635" y="378078"/>
                        <a:pt x="619650" y="378611"/>
                      </a:cubicBezTo>
                      <a:close/>
                      <a:moveTo>
                        <a:pt x="551537" y="378611"/>
                      </a:moveTo>
                      <a:cubicBezTo>
                        <a:pt x="536925" y="378611"/>
                        <a:pt x="527915" y="385088"/>
                        <a:pt x="527915" y="394613"/>
                      </a:cubicBezTo>
                      <a:cubicBezTo>
                        <a:pt x="527920" y="395937"/>
                        <a:pt x="528048" y="397257"/>
                        <a:pt x="528296" y="398557"/>
                      </a:cubicBezTo>
                      <a:lnTo>
                        <a:pt x="541631" y="398557"/>
                      </a:lnTo>
                      <a:lnTo>
                        <a:pt x="541631" y="396290"/>
                      </a:lnTo>
                      <a:cubicBezTo>
                        <a:pt x="541631" y="393108"/>
                        <a:pt x="544555" y="390699"/>
                        <a:pt x="550518" y="390699"/>
                      </a:cubicBezTo>
                      <a:cubicBezTo>
                        <a:pt x="557757" y="390699"/>
                        <a:pt x="559785" y="393880"/>
                        <a:pt x="559785" y="398700"/>
                      </a:cubicBezTo>
                      <a:lnTo>
                        <a:pt x="559785" y="402386"/>
                      </a:lnTo>
                      <a:lnTo>
                        <a:pt x="553442" y="402891"/>
                      </a:lnTo>
                      <a:cubicBezTo>
                        <a:pt x="536297" y="404034"/>
                        <a:pt x="525372" y="409625"/>
                        <a:pt x="525372" y="422322"/>
                      </a:cubicBezTo>
                      <a:cubicBezTo>
                        <a:pt x="525324" y="423051"/>
                        <a:pt x="525327" y="423783"/>
                        <a:pt x="525380" y="424512"/>
                      </a:cubicBezTo>
                      <a:cubicBezTo>
                        <a:pt x="526020" y="433268"/>
                        <a:pt x="533636" y="439849"/>
                        <a:pt x="542393" y="439209"/>
                      </a:cubicBezTo>
                      <a:cubicBezTo>
                        <a:pt x="549442" y="439420"/>
                        <a:pt x="556209" y="436434"/>
                        <a:pt x="560805" y="431085"/>
                      </a:cubicBezTo>
                      <a:lnTo>
                        <a:pt x="560805" y="437819"/>
                      </a:lnTo>
                      <a:lnTo>
                        <a:pt x="575283" y="437819"/>
                      </a:lnTo>
                      <a:lnTo>
                        <a:pt x="575283" y="398557"/>
                      </a:lnTo>
                      <a:cubicBezTo>
                        <a:pt x="575283" y="384584"/>
                        <a:pt x="565758" y="378611"/>
                        <a:pt x="551537" y="378611"/>
                      </a:cubicBezTo>
                      <a:close/>
                      <a:moveTo>
                        <a:pt x="514046" y="378611"/>
                      </a:moveTo>
                      <a:cubicBezTo>
                        <a:pt x="507295" y="378780"/>
                        <a:pt x="501252" y="382843"/>
                        <a:pt x="498549" y="389032"/>
                      </a:cubicBezTo>
                      <a:lnTo>
                        <a:pt x="498425" y="389032"/>
                      </a:lnTo>
                      <a:lnTo>
                        <a:pt x="498425" y="379888"/>
                      </a:lnTo>
                      <a:lnTo>
                        <a:pt x="483690" y="379888"/>
                      </a:lnTo>
                      <a:lnTo>
                        <a:pt x="483690" y="437800"/>
                      </a:lnTo>
                      <a:lnTo>
                        <a:pt x="499054" y="437800"/>
                      </a:lnTo>
                      <a:lnTo>
                        <a:pt x="499054" y="401367"/>
                      </a:lnTo>
                      <a:cubicBezTo>
                        <a:pt x="501165" y="397132"/>
                        <a:pt x="505505" y="394470"/>
                        <a:pt x="510236" y="394509"/>
                      </a:cubicBezTo>
                      <a:cubicBezTo>
                        <a:pt x="513357" y="394567"/>
                        <a:pt x="516463" y="394950"/>
                        <a:pt x="519504" y="395652"/>
                      </a:cubicBezTo>
                      <a:lnTo>
                        <a:pt x="520647" y="379383"/>
                      </a:lnTo>
                      <a:cubicBezTo>
                        <a:pt x="518490" y="378839"/>
                        <a:pt x="516271" y="378579"/>
                        <a:pt x="514046" y="378611"/>
                      </a:cubicBezTo>
                      <a:close/>
                      <a:moveTo>
                        <a:pt x="188110" y="378611"/>
                      </a:moveTo>
                      <a:cubicBezTo>
                        <a:pt x="182106" y="378464"/>
                        <a:pt x="176279" y="380649"/>
                        <a:pt x="171851" y="384707"/>
                      </a:cubicBezTo>
                      <a:lnTo>
                        <a:pt x="171851" y="379888"/>
                      </a:lnTo>
                      <a:lnTo>
                        <a:pt x="157249" y="379888"/>
                      </a:lnTo>
                      <a:lnTo>
                        <a:pt x="157249" y="465232"/>
                      </a:lnTo>
                      <a:lnTo>
                        <a:pt x="172613" y="465232"/>
                      </a:lnTo>
                      <a:lnTo>
                        <a:pt x="172613" y="433628"/>
                      </a:lnTo>
                      <a:cubicBezTo>
                        <a:pt x="176823" y="437401"/>
                        <a:pt x="182327" y="439401"/>
                        <a:pt x="187977" y="439209"/>
                      </a:cubicBezTo>
                      <a:lnTo>
                        <a:pt x="187977" y="439190"/>
                      </a:lnTo>
                      <a:cubicBezTo>
                        <a:pt x="203731" y="439190"/>
                        <a:pt x="212237" y="428018"/>
                        <a:pt x="212237" y="409091"/>
                      </a:cubicBezTo>
                      <a:cubicBezTo>
                        <a:pt x="212237" y="389794"/>
                        <a:pt x="203474" y="378611"/>
                        <a:pt x="188110" y="378611"/>
                      </a:cubicBezTo>
                      <a:close/>
                      <a:moveTo>
                        <a:pt x="330938" y="363371"/>
                      </a:moveTo>
                      <a:lnTo>
                        <a:pt x="315574" y="365791"/>
                      </a:lnTo>
                      <a:lnTo>
                        <a:pt x="315574" y="379888"/>
                      </a:lnTo>
                      <a:lnTo>
                        <a:pt x="305030" y="381155"/>
                      </a:lnTo>
                      <a:lnTo>
                        <a:pt x="305030" y="392842"/>
                      </a:lnTo>
                      <a:lnTo>
                        <a:pt x="315574" y="392842"/>
                      </a:lnTo>
                      <a:lnTo>
                        <a:pt x="315574" y="420931"/>
                      </a:lnTo>
                      <a:cubicBezTo>
                        <a:pt x="315574" y="431466"/>
                        <a:pt x="320146" y="439209"/>
                        <a:pt x="332081" y="439209"/>
                      </a:cubicBezTo>
                      <a:lnTo>
                        <a:pt x="332081" y="439190"/>
                      </a:lnTo>
                      <a:cubicBezTo>
                        <a:pt x="336275" y="439232"/>
                        <a:pt x="340448" y="438588"/>
                        <a:pt x="344435" y="437285"/>
                      </a:cubicBezTo>
                      <a:lnTo>
                        <a:pt x="344187" y="423950"/>
                      </a:lnTo>
                      <a:cubicBezTo>
                        <a:pt x="341956" y="424591"/>
                        <a:pt x="339650" y="424934"/>
                        <a:pt x="337329" y="424970"/>
                      </a:cubicBezTo>
                      <a:cubicBezTo>
                        <a:pt x="336806" y="425051"/>
                        <a:pt x="336274" y="425056"/>
                        <a:pt x="335749" y="424986"/>
                      </a:cubicBezTo>
                      <a:cubicBezTo>
                        <a:pt x="332708" y="424582"/>
                        <a:pt x="330572" y="421790"/>
                        <a:pt x="330976" y="418750"/>
                      </a:cubicBezTo>
                      <a:lnTo>
                        <a:pt x="330976" y="392842"/>
                      </a:lnTo>
                      <a:lnTo>
                        <a:pt x="343892" y="392842"/>
                      </a:lnTo>
                      <a:lnTo>
                        <a:pt x="343892" y="379888"/>
                      </a:lnTo>
                      <a:lnTo>
                        <a:pt x="330938" y="379888"/>
                      </a:lnTo>
                      <a:close/>
                      <a:moveTo>
                        <a:pt x="229506" y="350928"/>
                      </a:moveTo>
                      <a:cubicBezTo>
                        <a:pt x="224847" y="351332"/>
                        <a:pt x="221397" y="355436"/>
                        <a:pt x="221800" y="360095"/>
                      </a:cubicBezTo>
                      <a:cubicBezTo>
                        <a:pt x="221742" y="360741"/>
                        <a:pt x="221760" y="361393"/>
                        <a:pt x="221854" y="362035"/>
                      </a:cubicBezTo>
                      <a:cubicBezTo>
                        <a:pt x="222514" y="366532"/>
                        <a:pt x="226695" y="369642"/>
                        <a:pt x="231192" y="368982"/>
                      </a:cubicBezTo>
                      <a:lnTo>
                        <a:pt x="231192" y="368963"/>
                      </a:lnTo>
                      <a:cubicBezTo>
                        <a:pt x="231676" y="369013"/>
                        <a:pt x="232163" y="369021"/>
                        <a:pt x="232649" y="368986"/>
                      </a:cubicBezTo>
                      <a:cubicBezTo>
                        <a:pt x="237229" y="368656"/>
                        <a:pt x="240675" y="364675"/>
                        <a:pt x="240346" y="360095"/>
                      </a:cubicBezTo>
                      <a:cubicBezTo>
                        <a:pt x="240373" y="359697"/>
                        <a:pt x="240373" y="359298"/>
                        <a:pt x="240345" y="358901"/>
                      </a:cubicBezTo>
                      <a:cubicBezTo>
                        <a:pt x="240013" y="354178"/>
                        <a:pt x="235915" y="350619"/>
                        <a:pt x="231192" y="350951"/>
                      </a:cubicBezTo>
                      <a:cubicBezTo>
                        <a:pt x="230632" y="350887"/>
                        <a:pt x="230067" y="350880"/>
                        <a:pt x="229506" y="350928"/>
                      </a:cubicBezTo>
                      <a:close/>
                      <a:moveTo>
                        <a:pt x="422536" y="652"/>
                      </a:moveTo>
                      <a:cubicBezTo>
                        <a:pt x="427245" y="1913"/>
                        <a:pt x="431473" y="4971"/>
                        <a:pt x="434103" y="9527"/>
                      </a:cubicBezTo>
                      <a:lnTo>
                        <a:pt x="488015" y="102796"/>
                      </a:lnTo>
                      <a:cubicBezTo>
                        <a:pt x="493278" y="111892"/>
                        <a:pt x="504913" y="115008"/>
                        <a:pt x="514018" y="109759"/>
                      </a:cubicBezTo>
                      <a:lnTo>
                        <a:pt x="607363" y="55962"/>
                      </a:lnTo>
                      <a:cubicBezTo>
                        <a:pt x="610256" y="54291"/>
                        <a:pt x="613537" y="53411"/>
                        <a:pt x="616878" y="53409"/>
                      </a:cubicBezTo>
                      <a:cubicBezTo>
                        <a:pt x="627399" y="53404"/>
                        <a:pt x="635932" y="61928"/>
                        <a:pt x="635938" y="72449"/>
                      </a:cubicBezTo>
                      <a:lnTo>
                        <a:pt x="635995" y="180168"/>
                      </a:lnTo>
                      <a:cubicBezTo>
                        <a:pt x="635995" y="190689"/>
                        <a:pt x="644524" y="199218"/>
                        <a:pt x="655045" y="199218"/>
                      </a:cubicBezTo>
                      <a:lnTo>
                        <a:pt x="762763" y="199275"/>
                      </a:lnTo>
                      <a:cubicBezTo>
                        <a:pt x="766104" y="199276"/>
                        <a:pt x="769385" y="200157"/>
                        <a:pt x="772278" y="201827"/>
                      </a:cubicBezTo>
                      <a:cubicBezTo>
                        <a:pt x="781390" y="207087"/>
                        <a:pt x="784511" y="218738"/>
                        <a:pt x="779251" y="227850"/>
                      </a:cubicBezTo>
                      <a:lnTo>
                        <a:pt x="725454" y="321195"/>
                      </a:lnTo>
                      <a:cubicBezTo>
                        <a:pt x="720205" y="330299"/>
                        <a:pt x="723320" y="341935"/>
                        <a:pt x="732417" y="347198"/>
                      </a:cubicBezTo>
                      <a:lnTo>
                        <a:pt x="825685" y="401109"/>
                      </a:lnTo>
                      <a:cubicBezTo>
                        <a:pt x="828581" y="402781"/>
                        <a:pt x="830985" y="405186"/>
                        <a:pt x="832657" y="408081"/>
                      </a:cubicBezTo>
                      <a:cubicBezTo>
                        <a:pt x="837918" y="417192"/>
                        <a:pt x="834797" y="428843"/>
                        <a:pt x="825685" y="434104"/>
                      </a:cubicBezTo>
                      <a:lnTo>
                        <a:pt x="732417" y="488016"/>
                      </a:lnTo>
                      <a:cubicBezTo>
                        <a:pt x="723320" y="493279"/>
                        <a:pt x="720205" y="504914"/>
                        <a:pt x="725454" y="514019"/>
                      </a:cubicBezTo>
                      <a:lnTo>
                        <a:pt x="779251" y="607364"/>
                      </a:lnTo>
                      <a:cubicBezTo>
                        <a:pt x="780921" y="610257"/>
                        <a:pt x="781801" y="613538"/>
                        <a:pt x="781803" y="616879"/>
                      </a:cubicBezTo>
                      <a:cubicBezTo>
                        <a:pt x="781809" y="627400"/>
                        <a:pt x="773284" y="635933"/>
                        <a:pt x="762763" y="635939"/>
                      </a:cubicBezTo>
                      <a:lnTo>
                        <a:pt x="655045" y="635996"/>
                      </a:lnTo>
                      <a:cubicBezTo>
                        <a:pt x="644524" y="635996"/>
                        <a:pt x="635995" y="644525"/>
                        <a:pt x="635995" y="655046"/>
                      </a:cubicBezTo>
                      <a:lnTo>
                        <a:pt x="635938" y="762764"/>
                      </a:lnTo>
                      <a:cubicBezTo>
                        <a:pt x="635936" y="766105"/>
                        <a:pt x="635056" y="769386"/>
                        <a:pt x="633386" y="772279"/>
                      </a:cubicBezTo>
                      <a:cubicBezTo>
                        <a:pt x="628125" y="781391"/>
                        <a:pt x="616474" y="784513"/>
                        <a:pt x="607363" y="779252"/>
                      </a:cubicBezTo>
                      <a:lnTo>
                        <a:pt x="514018" y="725455"/>
                      </a:lnTo>
                      <a:cubicBezTo>
                        <a:pt x="504913" y="720206"/>
                        <a:pt x="493278" y="723321"/>
                        <a:pt x="488015" y="732418"/>
                      </a:cubicBezTo>
                      <a:lnTo>
                        <a:pt x="434103" y="825686"/>
                      </a:lnTo>
                      <a:cubicBezTo>
                        <a:pt x="432431" y="828582"/>
                        <a:pt x="430027" y="830986"/>
                        <a:pt x="427132" y="832658"/>
                      </a:cubicBezTo>
                      <a:cubicBezTo>
                        <a:pt x="418020" y="837919"/>
                        <a:pt x="406369" y="834798"/>
                        <a:pt x="401108" y="825686"/>
                      </a:cubicBezTo>
                      <a:lnTo>
                        <a:pt x="347197" y="732418"/>
                      </a:lnTo>
                      <a:cubicBezTo>
                        <a:pt x="341934" y="723321"/>
                        <a:pt x="330298" y="720206"/>
                        <a:pt x="321194" y="725455"/>
                      </a:cubicBezTo>
                      <a:lnTo>
                        <a:pt x="227849" y="779252"/>
                      </a:lnTo>
                      <a:cubicBezTo>
                        <a:pt x="224956" y="780922"/>
                        <a:pt x="221674" y="781802"/>
                        <a:pt x="218334" y="781804"/>
                      </a:cubicBezTo>
                      <a:cubicBezTo>
                        <a:pt x="207813" y="781810"/>
                        <a:pt x="199279" y="773285"/>
                        <a:pt x="199274" y="762764"/>
                      </a:cubicBezTo>
                      <a:lnTo>
                        <a:pt x="199217" y="655046"/>
                      </a:lnTo>
                      <a:cubicBezTo>
                        <a:pt x="199217" y="644525"/>
                        <a:pt x="190688" y="635996"/>
                        <a:pt x="180167" y="635996"/>
                      </a:cubicBezTo>
                      <a:lnTo>
                        <a:pt x="72448" y="635939"/>
                      </a:lnTo>
                      <a:cubicBezTo>
                        <a:pt x="69108" y="635937"/>
                        <a:pt x="65826" y="635057"/>
                        <a:pt x="62933" y="633387"/>
                      </a:cubicBezTo>
                      <a:cubicBezTo>
                        <a:pt x="53822" y="628126"/>
                        <a:pt x="50700" y="616475"/>
                        <a:pt x="55961" y="607364"/>
                      </a:cubicBezTo>
                      <a:lnTo>
                        <a:pt x="109758" y="514019"/>
                      </a:lnTo>
                      <a:cubicBezTo>
                        <a:pt x="115007" y="504914"/>
                        <a:pt x="111891" y="493279"/>
                        <a:pt x="102795" y="488016"/>
                      </a:cubicBezTo>
                      <a:lnTo>
                        <a:pt x="9526" y="434104"/>
                      </a:lnTo>
                      <a:cubicBezTo>
                        <a:pt x="6631" y="432432"/>
                        <a:pt x="4227" y="430028"/>
                        <a:pt x="2555" y="427133"/>
                      </a:cubicBezTo>
                      <a:cubicBezTo>
                        <a:pt x="-2706" y="418021"/>
                        <a:pt x="415" y="406370"/>
                        <a:pt x="9526" y="401109"/>
                      </a:cubicBezTo>
                      <a:lnTo>
                        <a:pt x="102795" y="347198"/>
                      </a:lnTo>
                      <a:cubicBezTo>
                        <a:pt x="111891" y="341935"/>
                        <a:pt x="115007" y="330299"/>
                        <a:pt x="109758" y="321195"/>
                      </a:cubicBezTo>
                      <a:lnTo>
                        <a:pt x="55961" y="227850"/>
                      </a:lnTo>
                      <a:cubicBezTo>
                        <a:pt x="54290" y="224957"/>
                        <a:pt x="53410" y="221675"/>
                        <a:pt x="53408" y="218335"/>
                      </a:cubicBezTo>
                      <a:cubicBezTo>
                        <a:pt x="53403" y="207814"/>
                        <a:pt x="61927" y="199280"/>
                        <a:pt x="72448" y="199275"/>
                      </a:cubicBezTo>
                      <a:lnTo>
                        <a:pt x="180167" y="199218"/>
                      </a:lnTo>
                      <a:cubicBezTo>
                        <a:pt x="190688" y="199218"/>
                        <a:pt x="199217" y="190689"/>
                        <a:pt x="199217" y="180168"/>
                      </a:cubicBezTo>
                      <a:lnTo>
                        <a:pt x="199274" y="72449"/>
                      </a:lnTo>
                      <a:cubicBezTo>
                        <a:pt x="199275" y="69109"/>
                        <a:pt x="200156" y="65827"/>
                        <a:pt x="201826" y="62934"/>
                      </a:cubicBezTo>
                      <a:cubicBezTo>
                        <a:pt x="207086" y="53823"/>
                        <a:pt x="218737" y="50701"/>
                        <a:pt x="227849" y="55962"/>
                      </a:cubicBezTo>
                      <a:lnTo>
                        <a:pt x="321194" y="109759"/>
                      </a:lnTo>
                      <a:cubicBezTo>
                        <a:pt x="330298" y="115008"/>
                        <a:pt x="341934" y="111892"/>
                        <a:pt x="347197" y="102796"/>
                      </a:cubicBezTo>
                      <a:lnTo>
                        <a:pt x="401109" y="9527"/>
                      </a:lnTo>
                      <a:cubicBezTo>
                        <a:pt x="402780" y="6632"/>
                        <a:pt x="405185" y="4228"/>
                        <a:pt x="408080" y="2556"/>
                      </a:cubicBezTo>
                      <a:cubicBezTo>
                        <a:pt x="412636" y="-75"/>
                        <a:pt x="417826" y="-610"/>
                        <a:pt x="422536" y="65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8100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2700">
                    <a:solidFill>
                      <a:schemeClr val="dk1"/>
                    </a:solidFill>
                  </a:endParaRPr>
                </a:p>
              </p:txBody>
            </p:sp>
            <p:grpSp>
              <p:nvGrpSpPr>
                <p:cNvPr id="189" name="Group 188">
                  <a:extLst>
                    <a:ext uri="{FF2B5EF4-FFF2-40B4-BE49-F238E27FC236}">
                      <a16:creationId xmlns:a16="http://schemas.microsoft.com/office/drawing/2014/main" id="{DF72DAA0-3067-BF6B-4C87-26C2AB088CC5}"/>
                    </a:ext>
                  </a:extLst>
                </p:cNvPr>
                <p:cNvGrpSpPr/>
                <p:nvPr/>
              </p:nvGrpSpPr>
              <p:grpSpPr>
                <a:xfrm>
                  <a:off x="339271" y="1921107"/>
                  <a:ext cx="882072" cy="882072"/>
                  <a:chOff x="339271" y="1010079"/>
                  <a:chExt cx="882072" cy="882072"/>
                </a:xfrm>
              </p:grpSpPr>
              <p:sp>
                <p:nvSpPr>
                  <p:cNvPr id="190" name="Oval 189">
                    <a:extLst>
                      <a:ext uri="{FF2B5EF4-FFF2-40B4-BE49-F238E27FC236}">
                        <a16:creationId xmlns:a16="http://schemas.microsoft.com/office/drawing/2014/main" id="{3A2CC96E-4BC1-B09D-FC1E-0EC928A3AF8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39271" y="1010079"/>
                    <a:ext cx="882072" cy="88207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108000" tIns="108000" rIns="108000" bIns="10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191" name="Oval 190">
                    <a:extLst>
                      <a:ext uri="{FF2B5EF4-FFF2-40B4-BE49-F238E27FC236}">
                        <a16:creationId xmlns:a16="http://schemas.microsoft.com/office/drawing/2014/main" id="{66C72D52-E621-8999-949D-C4D691A4F4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20307" y="1091115"/>
                    <a:ext cx="720000" cy="720000"/>
                  </a:xfrm>
                  <a:prstGeom prst="ellipse">
                    <a:avLst/>
                  </a:prstGeom>
                  <a:solidFill>
                    <a:schemeClr val="tx2"/>
                  </a:solidFill>
                  <a:ln w="12700" cmpd="sng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t"/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</a:pPr>
                    <a:endParaRPr lang="en-US" sz="27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</p:grpSp>
        <p:pic>
          <p:nvPicPr>
            <p:cNvPr id="185" name="Graphic 184" descr="Checkmark with solid fill">
              <a:extLst>
                <a:ext uri="{FF2B5EF4-FFF2-40B4-BE49-F238E27FC236}">
                  <a16:creationId xmlns:a16="http://schemas.microsoft.com/office/drawing/2014/main" id="{E8FFFF28-E8C8-918B-6582-5EEEED84E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5341" y="2633946"/>
              <a:ext cx="374925" cy="3749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5568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40131-0A0C-DC38-C504-4ABB5BD80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886251-7C86-3A9D-3BA3-961AD8D723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886251-7C86-3A9D-3BA3-961AD8D7231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0F937A9B-B5F0-7814-0431-4F8E08F5A1DF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41A8778E-15B6-CE28-5735-9D5A7C3BDE60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DB89323B-B899-AF31-FF68-D0CE557AB292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2C18D3F-397C-D006-C955-874CCCC131D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F5B1BDBF-D70A-5A29-D433-ABB2656D244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00C1779F-ACE3-FA26-B26B-53D2A4ADAEA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Project Requirements </a:t>
              </a:r>
            </a:p>
          </p:txBody>
        </p:sp>
      </p:grpSp>
      <p:cxnSp>
        <p:nvCxnSpPr>
          <p:cNvPr id="3" name="HorizontalLine33">
            <a:extLst>
              <a:ext uri="{FF2B5EF4-FFF2-40B4-BE49-F238E27FC236}">
                <a16:creationId xmlns:a16="http://schemas.microsoft.com/office/drawing/2014/main" id="{F8A9F7F6-A7FD-9165-DECF-0D9DAC448469}"/>
              </a:ext>
            </a:extLst>
          </p:cNvPr>
          <p:cNvCxnSpPr>
            <a:cxnSpLocks/>
          </p:cNvCxnSpPr>
          <p:nvPr/>
        </p:nvCxnSpPr>
        <p:spPr>
          <a:xfrm>
            <a:off x="967500" y="4708694"/>
            <a:ext cx="1645920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HorizontalLine33">
            <a:extLst>
              <a:ext uri="{FF2B5EF4-FFF2-40B4-BE49-F238E27FC236}">
                <a16:creationId xmlns:a16="http://schemas.microsoft.com/office/drawing/2014/main" id="{AB2E28E5-81A5-ECC3-D3A7-8DCCBCCAFB74}"/>
              </a:ext>
            </a:extLst>
          </p:cNvPr>
          <p:cNvCxnSpPr>
            <a:cxnSpLocks/>
          </p:cNvCxnSpPr>
          <p:nvPr/>
        </p:nvCxnSpPr>
        <p:spPr>
          <a:xfrm>
            <a:off x="967500" y="7066469"/>
            <a:ext cx="1645920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695DB2-8F99-1B53-6D7D-5A716936CE0D}"/>
              </a:ext>
            </a:extLst>
          </p:cNvPr>
          <p:cNvGrpSpPr/>
          <p:nvPr/>
        </p:nvGrpSpPr>
        <p:grpSpPr>
          <a:xfrm>
            <a:off x="826773" y="2743298"/>
            <a:ext cx="15899369" cy="1592847"/>
            <a:chOff x="826773" y="2743298"/>
            <a:chExt cx="15899369" cy="1592847"/>
          </a:xfrm>
        </p:grpSpPr>
        <p:sp>
          <p:nvSpPr>
            <p:cNvPr id="8" name="Title1414">
              <a:extLst>
                <a:ext uri="{FF2B5EF4-FFF2-40B4-BE49-F238E27FC236}">
                  <a16:creationId xmlns:a16="http://schemas.microsoft.com/office/drawing/2014/main" id="{4990AD3D-C8F7-0B35-EBFD-A548E61DE3F5}"/>
                </a:ext>
              </a:extLst>
            </p:cNvPr>
            <p:cNvSpPr txBox="1"/>
            <p:nvPr/>
          </p:nvSpPr>
          <p:spPr>
            <a:xfrm>
              <a:off x="2348627" y="2852662"/>
              <a:ext cx="2374783" cy="72019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lang="en-US" sz="2600" b="1">
                  <a:solidFill>
                    <a:srgbClr val="293E6B"/>
                  </a:solidFill>
                </a:rPr>
                <a:t>Functional Requirements</a:t>
              </a:r>
            </a:p>
          </p:txBody>
        </p:sp>
        <p:sp>
          <p:nvSpPr>
            <p:cNvPr id="12" name="RBContent32">
              <a:extLst>
                <a:ext uri="{FF2B5EF4-FFF2-40B4-BE49-F238E27FC236}">
                  <a16:creationId xmlns:a16="http://schemas.microsoft.com/office/drawing/2014/main" id="{A4C3A767-AEDD-5EAD-5015-C0F9C79A72EC}"/>
                </a:ext>
              </a:extLst>
            </p:cNvPr>
            <p:cNvSpPr txBox="1"/>
            <p:nvPr/>
          </p:nvSpPr>
          <p:spPr>
            <a:xfrm>
              <a:off x="5033684" y="2852662"/>
              <a:ext cx="11692458" cy="148348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Process fMRI Brain Data: </a:t>
              </a:r>
              <a:r>
                <a:rPr lang="en-US" sz="2400" dirty="0">
                  <a:solidFill>
                    <a:srgbClr val="293E6B"/>
                  </a:solidFill>
                </a:rPr>
                <a:t>Extract meaningful features from brain connectivity patterns.</a:t>
              </a:r>
            </a:p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Develop Predictive Models: </a:t>
              </a:r>
              <a:r>
                <a:rPr lang="en-US" sz="2400" dirty="0">
                  <a:solidFill>
                    <a:srgbClr val="293E6B"/>
                  </a:solidFill>
                </a:rPr>
                <a:t>Train algorithms to estimate age from brain network data.</a:t>
              </a:r>
            </a:p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Generate Insights: </a:t>
              </a:r>
              <a:r>
                <a:rPr lang="en-US" sz="2400" dirty="0">
                  <a:solidFill>
                    <a:srgbClr val="293E6B"/>
                  </a:solidFill>
                </a:rPr>
                <a:t>Create visual and statistical summaries to understand model behavior and highlight sex-specific trends.</a:t>
              </a:r>
              <a:endParaRPr lang="en-US" sz="2400" dirty="0"/>
            </a:p>
          </p:txBody>
        </p:sp>
        <p:pic>
          <p:nvPicPr>
            <p:cNvPr id="17" name="Graphic 16" descr="Gears with solid fill">
              <a:extLst>
                <a:ext uri="{FF2B5EF4-FFF2-40B4-BE49-F238E27FC236}">
                  <a16:creationId xmlns:a16="http://schemas.microsoft.com/office/drawing/2014/main" id="{596C4F02-B3FA-DF57-55D0-C4B964CB6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6773" y="2743298"/>
              <a:ext cx="1051560" cy="105156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9423AEA-DB44-B4AD-78FA-C98764CA7BAE}"/>
              </a:ext>
            </a:extLst>
          </p:cNvPr>
          <p:cNvGrpSpPr/>
          <p:nvPr/>
        </p:nvGrpSpPr>
        <p:grpSpPr>
          <a:xfrm>
            <a:off x="895353" y="7439019"/>
            <a:ext cx="16117003" cy="1234336"/>
            <a:chOff x="895353" y="7439019"/>
            <a:chExt cx="16117003" cy="1234336"/>
          </a:xfrm>
        </p:grpSpPr>
        <p:sp>
          <p:nvSpPr>
            <p:cNvPr id="15" name="Title3434">
              <a:extLst>
                <a:ext uri="{FF2B5EF4-FFF2-40B4-BE49-F238E27FC236}">
                  <a16:creationId xmlns:a16="http://schemas.microsoft.com/office/drawing/2014/main" id="{DDE2F486-A601-2CBB-D279-E4853DCF12E4}"/>
                </a:ext>
              </a:extLst>
            </p:cNvPr>
            <p:cNvSpPr txBox="1"/>
            <p:nvPr/>
          </p:nvSpPr>
          <p:spPr>
            <a:xfrm>
              <a:off x="2348627" y="7522271"/>
              <a:ext cx="2374783" cy="74789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lang="en-US" sz="2700" b="1">
                  <a:solidFill>
                    <a:srgbClr val="293E6B"/>
                  </a:solidFill>
                </a:rPr>
                <a:t>Quality Requirements</a:t>
              </a:r>
            </a:p>
          </p:txBody>
        </p:sp>
        <p:sp>
          <p:nvSpPr>
            <p:cNvPr id="16" name="RBContent35">
              <a:extLst>
                <a:ext uri="{FF2B5EF4-FFF2-40B4-BE49-F238E27FC236}">
                  <a16:creationId xmlns:a16="http://schemas.microsoft.com/office/drawing/2014/main" id="{CF60C1AB-A357-0CC5-C83B-28BE314BC884}"/>
                </a:ext>
              </a:extLst>
            </p:cNvPr>
            <p:cNvSpPr txBox="1"/>
            <p:nvPr/>
          </p:nvSpPr>
          <p:spPr>
            <a:xfrm>
              <a:off x="5033683" y="7522271"/>
              <a:ext cx="11978673" cy="115108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Scientific Validity</a:t>
              </a:r>
              <a:r>
                <a:rPr lang="en-US" sz="2400" b="1" dirty="0"/>
                <a:t>: </a:t>
              </a:r>
              <a:r>
                <a:rPr lang="en-US" sz="2400" dirty="0"/>
                <a:t>Apply valid methods to ensure robust conclusions.</a:t>
              </a:r>
            </a:p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Reproducibility</a:t>
              </a:r>
              <a:r>
                <a:rPr lang="en-US" sz="2400" b="1" dirty="0"/>
                <a:t>:</a:t>
              </a:r>
              <a:r>
                <a:rPr lang="en-US" sz="2400" dirty="0"/>
                <a:t> Create a modular pipeline with potential for full environment capture.</a:t>
              </a:r>
            </a:p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Fairness &amp; Bias </a:t>
              </a:r>
              <a:r>
                <a:rPr lang="en-US" sz="2400" b="1" dirty="0"/>
                <a:t>Checks: </a:t>
              </a:r>
              <a:r>
                <a:rPr lang="en-US" sz="2400" dirty="0"/>
                <a:t>Begin assessing model fairness, especially across sex groups.</a:t>
              </a:r>
            </a:p>
          </p:txBody>
        </p:sp>
        <p:pic>
          <p:nvPicPr>
            <p:cNvPr id="18" name="Graphic 17" descr="Bar graph with upward trend with solid fill">
              <a:extLst>
                <a:ext uri="{FF2B5EF4-FFF2-40B4-BE49-F238E27FC236}">
                  <a16:creationId xmlns:a16="http://schemas.microsoft.com/office/drawing/2014/main" id="{94086477-46D9-C15B-6F6B-7EA0C06EF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5353" y="7439019"/>
              <a:ext cx="914400" cy="9144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DE3959A-30AB-548E-C617-A5816C6A5214}"/>
              </a:ext>
            </a:extLst>
          </p:cNvPr>
          <p:cNvGrpSpPr/>
          <p:nvPr/>
        </p:nvGrpSpPr>
        <p:grpSpPr>
          <a:xfrm>
            <a:off x="895353" y="5081243"/>
            <a:ext cx="16117003" cy="1280278"/>
            <a:chOff x="895353" y="5663548"/>
            <a:chExt cx="16117003" cy="1280278"/>
          </a:xfrm>
        </p:grpSpPr>
        <p:sp>
          <p:nvSpPr>
            <p:cNvPr id="13" name="Title3434">
              <a:extLst>
                <a:ext uri="{FF2B5EF4-FFF2-40B4-BE49-F238E27FC236}">
                  <a16:creationId xmlns:a16="http://schemas.microsoft.com/office/drawing/2014/main" id="{29123DB1-73B8-A40B-3FEB-F8C6C9B517D4}"/>
                </a:ext>
              </a:extLst>
            </p:cNvPr>
            <p:cNvSpPr txBox="1"/>
            <p:nvPr/>
          </p:nvSpPr>
          <p:spPr>
            <a:xfrm>
              <a:off x="2348627" y="5792742"/>
              <a:ext cx="2374783" cy="74789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lang="en-US" sz="2700" b="1">
                  <a:solidFill>
                    <a:srgbClr val="293E6B"/>
                  </a:solidFill>
                </a:rPr>
                <a:t>Performance Requirements</a:t>
              </a:r>
            </a:p>
          </p:txBody>
        </p:sp>
        <p:sp>
          <p:nvSpPr>
            <p:cNvPr id="14" name="RBContent35">
              <a:extLst>
                <a:ext uri="{FF2B5EF4-FFF2-40B4-BE49-F238E27FC236}">
                  <a16:creationId xmlns:a16="http://schemas.microsoft.com/office/drawing/2014/main" id="{BEE5CFAC-80D3-758B-D42B-A4BF3A8118B2}"/>
                </a:ext>
              </a:extLst>
            </p:cNvPr>
            <p:cNvSpPr txBox="1"/>
            <p:nvPr/>
          </p:nvSpPr>
          <p:spPr>
            <a:xfrm>
              <a:off x="5014634" y="5792742"/>
              <a:ext cx="11997722" cy="115108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Scalable to Large Datasets: </a:t>
              </a:r>
              <a:r>
                <a:rPr lang="en-US" sz="2400" dirty="0">
                  <a:solidFill>
                    <a:srgbClr val="293E6B"/>
                  </a:solidFill>
                </a:rPr>
                <a:t>Handle high-dimensional brain connectivity matrices.</a:t>
              </a:r>
            </a:p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Meet Accuracy Benchmarks: </a:t>
              </a:r>
              <a:r>
                <a:rPr lang="en-US" sz="2400" dirty="0">
                  <a:solidFill>
                    <a:srgbClr val="293E6B"/>
                  </a:solidFill>
                </a:rPr>
                <a:t>Achieve competitive prediction performance.</a:t>
              </a:r>
            </a:p>
            <a:p>
              <a:pPr marL="342900" lvl="1" indent="-342900">
                <a:lnSpc>
                  <a:spcPct val="90000"/>
                </a:lnSpc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293E6B"/>
                  </a:solidFill>
                </a:rPr>
                <a:t>Efficient Computation: </a:t>
              </a:r>
              <a:r>
                <a:rPr lang="en-US" sz="2400" dirty="0">
                  <a:solidFill>
                    <a:srgbClr val="293E6B"/>
                  </a:solidFill>
                </a:rPr>
                <a:t>Utilize hardware resources effectively for model training and testing.</a:t>
              </a:r>
              <a:endParaRPr lang="en-US" sz="2400" dirty="0"/>
            </a:p>
          </p:txBody>
        </p:sp>
        <p:pic>
          <p:nvPicPr>
            <p:cNvPr id="19" name="Graphic 18" descr="Gauge with solid fill">
              <a:extLst>
                <a:ext uri="{FF2B5EF4-FFF2-40B4-BE49-F238E27FC236}">
                  <a16:creationId xmlns:a16="http://schemas.microsoft.com/office/drawing/2014/main" id="{7D0EB0F2-63E1-C89D-512C-D642811A7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95353" y="5663548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87987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D5CB6-E84F-3FC8-049B-BCC3E31FD7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435BC08-6420-171E-1497-3AAA84222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435BC08-6420-171E-1497-3AAA842220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1200941E-0F47-71FE-E9DB-21072F5F7B37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16C51A7B-F284-6B41-0219-2950BD7594E5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F1AB662B-D9EF-60F2-8D3E-5D53A1BD4194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F6D882E-CB9E-5358-2417-1E3BAC59AFF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B6453F24-54CD-CB7E-737F-6009EF983A9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EB2E6924-5E1F-F413-D578-163630BC911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Project Plan</a:t>
              </a:r>
            </a:p>
          </p:txBody>
        </p:sp>
      </p:grpSp>
      <p:sp>
        <p:nvSpPr>
          <p:cNvPr id="3" name="Title 5">
            <a:extLst>
              <a:ext uri="{FF2B5EF4-FFF2-40B4-BE49-F238E27FC236}">
                <a16:creationId xmlns:a16="http://schemas.microsoft.com/office/drawing/2014/main" id="{335A1B21-9D32-D9A9-3D36-EEC5B8154198}"/>
              </a:ext>
            </a:extLst>
          </p:cNvPr>
          <p:cNvSpPr txBox="1">
            <a:spLocks/>
          </p:cNvSpPr>
          <p:nvPr/>
        </p:nvSpPr>
        <p:spPr>
          <a:xfrm>
            <a:off x="826773" y="1460737"/>
            <a:ext cx="17055017" cy="87008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>
                <a:solidFill>
                  <a:srgbClr val="293E6B"/>
                </a:solidFill>
                <a:latin typeface="Roboto"/>
                <a:ea typeface="Roboto"/>
                <a:cs typeface="Roboto"/>
              </a:rPr>
              <a:t>Combining CRISP-DM and Agile for Flexible Data Science</a:t>
            </a:r>
            <a:endParaRPr lang="en-US" sz="320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RbNavigator">
            <a:extLst>
              <a:ext uri="{FF2B5EF4-FFF2-40B4-BE49-F238E27FC236}">
                <a16:creationId xmlns:a16="http://schemas.microsoft.com/office/drawing/2014/main" id="{3D3F306A-97BA-6FC0-142E-6611714C8291}"/>
              </a:ext>
            </a:extLst>
          </p:cNvPr>
          <p:cNvSpPr txBox="1"/>
          <p:nvPr/>
        </p:nvSpPr>
        <p:spPr>
          <a:xfrm>
            <a:off x="1000206" y="3122276"/>
            <a:ext cx="525861" cy="6670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none" lIns="0" tIns="0" rIns="71882" bIns="144000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"/>
            </a:pPr>
            <a:r>
              <a:rPr kumimoji="1" lang="en-US" sz="5400" b="0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8" name="Title22">
            <a:extLst>
              <a:ext uri="{FF2B5EF4-FFF2-40B4-BE49-F238E27FC236}">
                <a16:creationId xmlns:a16="http://schemas.microsoft.com/office/drawing/2014/main" id="{358B37EB-1152-6630-6A92-F3712C97E609}"/>
              </a:ext>
            </a:extLst>
          </p:cNvPr>
          <p:cNvSpPr txBox="1"/>
          <p:nvPr/>
        </p:nvSpPr>
        <p:spPr>
          <a:xfrm>
            <a:off x="1012906" y="3816064"/>
            <a:ext cx="2730958" cy="9565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>
                <a:solidFill>
                  <a:schemeClr val="dk2"/>
                </a:solidFill>
                <a:latin typeface="Roboto"/>
                <a:ea typeface="Roboto"/>
                <a:cs typeface="Roboto"/>
              </a:rPr>
              <a:t>Initial</a:t>
            </a:r>
          </a:p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>
                <a:solidFill>
                  <a:schemeClr val="dk2"/>
                </a:solidFill>
                <a:latin typeface="Roboto"/>
                <a:ea typeface="Roboto"/>
                <a:cs typeface="Roboto"/>
              </a:rPr>
              <a:t>Project Launch</a:t>
            </a:r>
            <a:endParaRPr lang="en-US" sz="2400" b="1" i="0" u="none" strike="noStrike" cap="none">
              <a:solidFill>
                <a:schemeClr val="dk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2" name="HorizontalLine4">
            <a:extLst>
              <a:ext uri="{FF2B5EF4-FFF2-40B4-BE49-F238E27FC236}">
                <a16:creationId xmlns:a16="http://schemas.microsoft.com/office/drawing/2014/main" id="{DCD4F8BE-7431-B561-F2F6-B38661FBDAE4}"/>
              </a:ext>
            </a:extLst>
          </p:cNvPr>
          <p:cNvCxnSpPr>
            <a:cxnSpLocks/>
          </p:cNvCxnSpPr>
          <p:nvPr/>
        </p:nvCxnSpPr>
        <p:spPr>
          <a:xfrm>
            <a:off x="1000206" y="5040482"/>
            <a:ext cx="2743658" cy="0"/>
          </a:xfrm>
          <a:prstGeom prst="line">
            <a:avLst/>
          </a:prstGeom>
          <a:ln w="38100" cmpd="sng">
            <a:solidFill>
              <a:srgbClr val="293E6B"/>
            </a:solidFill>
            <a:tailEnd type="triangle" w="lg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stLeanHorizontalTextDetail0">
            <a:extLst>
              <a:ext uri="{FF2B5EF4-FFF2-40B4-BE49-F238E27FC236}">
                <a16:creationId xmlns:a16="http://schemas.microsoft.com/office/drawing/2014/main" id="{57B3301E-51B8-4ECA-45F9-3E8D63BA5D60}"/>
              </a:ext>
            </a:extLst>
          </p:cNvPr>
          <p:cNvSpPr txBox="1">
            <a:spLocks/>
          </p:cNvSpPr>
          <p:nvPr/>
        </p:nvSpPr>
        <p:spPr>
          <a:xfrm>
            <a:off x="850190" y="5426285"/>
            <a:ext cx="3130901" cy="138499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Clr>
                <a:srgbClr val="000000"/>
              </a:buClr>
              <a:buSzPct val="120000"/>
              <a:buFont typeface="Arial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Reviewed datasets, defined scope &amp; goals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Assigned team roles and outlined risks</a:t>
            </a:r>
          </a:p>
        </p:txBody>
      </p:sp>
      <p:sp>
        <p:nvSpPr>
          <p:cNvPr id="14" name="RbNavigator">
            <a:extLst>
              <a:ext uri="{FF2B5EF4-FFF2-40B4-BE49-F238E27FC236}">
                <a16:creationId xmlns:a16="http://schemas.microsoft.com/office/drawing/2014/main" id="{CA4AE07E-5F10-747A-C799-BA81502DD16D}"/>
              </a:ext>
            </a:extLst>
          </p:cNvPr>
          <p:cNvSpPr txBox="1"/>
          <p:nvPr/>
        </p:nvSpPr>
        <p:spPr>
          <a:xfrm>
            <a:off x="7560254" y="3122276"/>
            <a:ext cx="525861" cy="6670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none" lIns="0" tIns="0" rIns="71882" bIns="144000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"/>
            </a:pPr>
            <a:r>
              <a:rPr kumimoji="1" lang="en-US" sz="5400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  <a:endParaRPr kumimoji="1" lang="en-US" sz="5400" b="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Title22">
            <a:extLst>
              <a:ext uri="{FF2B5EF4-FFF2-40B4-BE49-F238E27FC236}">
                <a16:creationId xmlns:a16="http://schemas.microsoft.com/office/drawing/2014/main" id="{C44552A7-6DD6-FB31-7DEC-7F7551C87640}"/>
              </a:ext>
            </a:extLst>
          </p:cNvPr>
          <p:cNvSpPr txBox="1"/>
          <p:nvPr/>
        </p:nvSpPr>
        <p:spPr>
          <a:xfrm>
            <a:off x="7572953" y="3816064"/>
            <a:ext cx="3267323" cy="9565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>
                <a:solidFill>
                  <a:schemeClr val="dk2"/>
                </a:solidFill>
                <a:latin typeface="Roboto"/>
                <a:ea typeface="Roboto"/>
                <a:cs typeface="Roboto"/>
                <a:sym typeface="Arial"/>
              </a:rPr>
              <a:t>Model development and optimization</a:t>
            </a:r>
            <a:endParaRPr lang="en-US" sz="2400" b="1">
              <a:solidFill>
                <a:schemeClr val="dk2"/>
              </a:solidFill>
              <a:latin typeface="Roboto"/>
              <a:ea typeface="Roboto"/>
              <a:cs typeface="Roboto"/>
            </a:endParaRPr>
          </a:p>
        </p:txBody>
      </p:sp>
      <p:cxnSp>
        <p:nvCxnSpPr>
          <p:cNvPr id="16" name="HorizontalLine4">
            <a:extLst>
              <a:ext uri="{FF2B5EF4-FFF2-40B4-BE49-F238E27FC236}">
                <a16:creationId xmlns:a16="http://schemas.microsoft.com/office/drawing/2014/main" id="{12D7D178-22F5-C11E-D101-09ED195B9605}"/>
              </a:ext>
            </a:extLst>
          </p:cNvPr>
          <p:cNvCxnSpPr>
            <a:cxnSpLocks/>
          </p:cNvCxnSpPr>
          <p:nvPr/>
        </p:nvCxnSpPr>
        <p:spPr>
          <a:xfrm>
            <a:off x="7560254" y="5040482"/>
            <a:ext cx="2743658" cy="0"/>
          </a:xfrm>
          <a:prstGeom prst="line">
            <a:avLst/>
          </a:prstGeom>
          <a:ln w="38100" cmpd="sng">
            <a:solidFill>
              <a:srgbClr val="293E6B"/>
            </a:solidFill>
            <a:tailEnd type="triangle" w="lg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stLeanHorizontalTextDetail0">
            <a:extLst>
              <a:ext uri="{FF2B5EF4-FFF2-40B4-BE49-F238E27FC236}">
                <a16:creationId xmlns:a16="http://schemas.microsoft.com/office/drawing/2014/main" id="{8F1A1C9D-D565-A176-E124-79B1D73E9299}"/>
              </a:ext>
            </a:extLst>
          </p:cNvPr>
          <p:cNvSpPr txBox="1">
            <a:spLocks/>
          </p:cNvSpPr>
          <p:nvPr/>
        </p:nvSpPr>
        <p:spPr>
          <a:xfrm>
            <a:off x="7496501" y="5426285"/>
            <a:ext cx="2807411" cy="387798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Defined target (age) and applied dimensionality reduction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Trained traditional ML and deep learning models (e.g., Linear Regression, Random Forest, GNNs, Transformers)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Tuned models using grid/random search and validation techniques</a:t>
            </a:r>
          </a:p>
        </p:txBody>
      </p:sp>
      <p:sp>
        <p:nvSpPr>
          <p:cNvPr id="18" name="RbNavigator">
            <a:extLst>
              <a:ext uri="{FF2B5EF4-FFF2-40B4-BE49-F238E27FC236}">
                <a16:creationId xmlns:a16="http://schemas.microsoft.com/office/drawing/2014/main" id="{CB00AF39-FAE3-6B17-446F-5D0AC59C4753}"/>
              </a:ext>
            </a:extLst>
          </p:cNvPr>
          <p:cNvSpPr txBox="1"/>
          <p:nvPr/>
        </p:nvSpPr>
        <p:spPr>
          <a:xfrm>
            <a:off x="14120301" y="3122276"/>
            <a:ext cx="525861" cy="6670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none" lIns="0" tIns="0" rIns="71882" bIns="144000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"/>
            </a:pPr>
            <a:r>
              <a:rPr kumimoji="1" lang="en-US" sz="5400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</a:t>
            </a:r>
            <a:endParaRPr kumimoji="1" lang="en-US" sz="5400" b="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Title22">
            <a:extLst>
              <a:ext uri="{FF2B5EF4-FFF2-40B4-BE49-F238E27FC236}">
                <a16:creationId xmlns:a16="http://schemas.microsoft.com/office/drawing/2014/main" id="{762C8FEA-0913-8455-6D56-97BEFF7CDA0A}"/>
              </a:ext>
            </a:extLst>
          </p:cNvPr>
          <p:cNvSpPr txBox="1"/>
          <p:nvPr/>
        </p:nvSpPr>
        <p:spPr>
          <a:xfrm>
            <a:off x="14133001" y="3816064"/>
            <a:ext cx="2730958" cy="9565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Arial"/>
              </a:rPr>
              <a:t>Final</a:t>
            </a:r>
          </a:p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Arial"/>
              </a:rPr>
              <a:t>Reporting</a:t>
            </a:r>
          </a:p>
        </p:txBody>
      </p:sp>
      <p:sp>
        <p:nvSpPr>
          <p:cNvPr id="20" name="ListLeanHorizontalTextDetail0">
            <a:extLst>
              <a:ext uri="{FF2B5EF4-FFF2-40B4-BE49-F238E27FC236}">
                <a16:creationId xmlns:a16="http://schemas.microsoft.com/office/drawing/2014/main" id="{04A38A69-2F98-9D4C-CE50-8EAF77B93CAC}"/>
              </a:ext>
            </a:extLst>
          </p:cNvPr>
          <p:cNvSpPr txBox="1">
            <a:spLocks/>
          </p:cNvSpPr>
          <p:nvPr/>
        </p:nvSpPr>
        <p:spPr>
          <a:xfrm>
            <a:off x="14142812" y="5426285"/>
            <a:ext cx="3238731" cy="138499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Documented key insights and findings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Built presentation, report, and summary video</a:t>
            </a:r>
          </a:p>
        </p:txBody>
      </p:sp>
      <p:sp>
        <p:nvSpPr>
          <p:cNvPr id="21" name="RbNavigator">
            <a:extLst>
              <a:ext uri="{FF2B5EF4-FFF2-40B4-BE49-F238E27FC236}">
                <a16:creationId xmlns:a16="http://schemas.microsoft.com/office/drawing/2014/main" id="{2D0CC251-8018-7C77-C2DE-21B2BD086232}"/>
              </a:ext>
            </a:extLst>
          </p:cNvPr>
          <p:cNvSpPr txBox="1"/>
          <p:nvPr/>
        </p:nvSpPr>
        <p:spPr>
          <a:xfrm>
            <a:off x="10840278" y="3122276"/>
            <a:ext cx="525861" cy="6670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none" lIns="0" tIns="0" rIns="71882" bIns="144000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"/>
            </a:pPr>
            <a:r>
              <a:rPr kumimoji="1" lang="en-US" sz="5400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  <a:endParaRPr kumimoji="1" lang="en-US" sz="5400" b="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2" name="Title22">
            <a:extLst>
              <a:ext uri="{FF2B5EF4-FFF2-40B4-BE49-F238E27FC236}">
                <a16:creationId xmlns:a16="http://schemas.microsoft.com/office/drawing/2014/main" id="{6381A140-C22E-4A6B-F3A7-9D77F5E47885}"/>
              </a:ext>
            </a:extLst>
          </p:cNvPr>
          <p:cNvSpPr txBox="1"/>
          <p:nvPr/>
        </p:nvSpPr>
        <p:spPr>
          <a:xfrm>
            <a:off x="10852978" y="3816064"/>
            <a:ext cx="2743657" cy="9565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>
                <a:solidFill>
                  <a:schemeClr val="dk2"/>
                </a:solidFill>
                <a:latin typeface="Roboto"/>
                <a:ea typeface="Roboto"/>
                <a:cs typeface="Roboto"/>
              </a:rPr>
              <a:t>Validation &amp; Insights</a:t>
            </a:r>
          </a:p>
        </p:txBody>
      </p:sp>
      <p:cxnSp>
        <p:nvCxnSpPr>
          <p:cNvPr id="23" name="HorizontalLine4">
            <a:extLst>
              <a:ext uri="{FF2B5EF4-FFF2-40B4-BE49-F238E27FC236}">
                <a16:creationId xmlns:a16="http://schemas.microsoft.com/office/drawing/2014/main" id="{2229040E-57D1-A7BA-3336-831AA8A96952}"/>
              </a:ext>
            </a:extLst>
          </p:cNvPr>
          <p:cNvCxnSpPr>
            <a:cxnSpLocks/>
          </p:cNvCxnSpPr>
          <p:nvPr/>
        </p:nvCxnSpPr>
        <p:spPr>
          <a:xfrm>
            <a:off x="10840278" y="5040482"/>
            <a:ext cx="2743658" cy="0"/>
          </a:xfrm>
          <a:prstGeom prst="line">
            <a:avLst/>
          </a:prstGeom>
          <a:ln w="38100" cmpd="sng">
            <a:solidFill>
              <a:srgbClr val="293E6B"/>
            </a:solidFill>
            <a:tailEnd type="triangle" w="lg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ListLeanHorizontalTextDetail0">
            <a:extLst>
              <a:ext uri="{FF2B5EF4-FFF2-40B4-BE49-F238E27FC236}">
                <a16:creationId xmlns:a16="http://schemas.microsoft.com/office/drawing/2014/main" id="{11B93EC6-B576-D336-88CF-8FFE7F339200}"/>
              </a:ext>
            </a:extLst>
          </p:cNvPr>
          <p:cNvSpPr txBox="1">
            <a:spLocks/>
          </p:cNvSpPr>
          <p:nvPr/>
        </p:nvSpPr>
        <p:spPr>
          <a:xfrm>
            <a:off x="10862789" y="5426285"/>
            <a:ext cx="2936807" cy="360098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Validated models using cross-validation and bias assessment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Evaluated model performance and addressed under/overfitting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Analyzed sex-specific brain connectivity patterns and model behavior</a:t>
            </a:r>
          </a:p>
        </p:txBody>
      </p:sp>
      <p:sp>
        <p:nvSpPr>
          <p:cNvPr id="25" name="RbNavigator">
            <a:extLst>
              <a:ext uri="{FF2B5EF4-FFF2-40B4-BE49-F238E27FC236}">
                <a16:creationId xmlns:a16="http://schemas.microsoft.com/office/drawing/2014/main" id="{FB70A1C0-85A6-0030-F24C-E12DB5C8C42C}"/>
              </a:ext>
            </a:extLst>
          </p:cNvPr>
          <p:cNvSpPr txBox="1"/>
          <p:nvPr/>
        </p:nvSpPr>
        <p:spPr>
          <a:xfrm>
            <a:off x="4280230" y="3122276"/>
            <a:ext cx="525861" cy="6670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none" lIns="0" tIns="0" rIns="71882" bIns="144000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"/>
            </a:pPr>
            <a:r>
              <a:rPr kumimoji="1" lang="en-US" sz="5400">
                <a:solidFill>
                  <a:srgbClr val="293E6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  <a:endParaRPr kumimoji="1" lang="en-US" sz="5400" b="0">
              <a:solidFill>
                <a:srgbClr val="293E6B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6" name="Title22">
            <a:extLst>
              <a:ext uri="{FF2B5EF4-FFF2-40B4-BE49-F238E27FC236}">
                <a16:creationId xmlns:a16="http://schemas.microsoft.com/office/drawing/2014/main" id="{81895FBA-5927-A675-5FED-18FF586B0E97}"/>
              </a:ext>
            </a:extLst>
          </p:cNvPr>
          <p:cNvSpPr txBox="1"/>
          <p:nvPr/>
        </p:nvSpPr>
        <p:spPr>
          <a:xfrm>
            <a:off x="4292930" y="3816064"/>
            <a:ext cx="2743658" cy="9565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>
              <a:lnSpc>
                <a:spcPct val="125000"/>
              </a:lnSpc>
              <a:buClr>
                <a:srgbClr val="000000"/>
              </a:buClr>
              <a:buSzPts val="2000"/>
            </a:pPr>
            <a:r>
              <a:rPr lang="en-US" sz="2400" b="1">
                <a:solidFill>
                  <a:schemeClr val="dk2"/>
                </a:solidFill>
                <a:latin typeface="Roboto"/>
                <a:ea typeface="Roboto"/>
                <a:cs typeface="Roboto"/>
              </a:rPr>
              <a:t>Data Preparation and Exploration</a:t>
            </a:r>
          </a:p>
        </p:txBody>
      </p:sp>
      <p:cxnSp>
        <p:nvCxnSpPr>
          <p:cNvPr id="27" name="HorizontalLine4">
            <a:extLst>
              <a:ext uri="{FF2B5EF4-FFF2-40B4-BE49-F238E27FC236}">
                <a16:creationId xmlns:a16="http://schemas.microsoft.com/office/drawing/2014/main" id="{32E87013-164F-BC0B-9947-0C924841DBE4}"/>
              </a:ext>
            </a:extLst>
          </p:cNvPr>
          <p:cNvCxnSpPr>
            <a:cxnSpLocks/>
          </p:cNvCxnSpPr>
          <p:nvPr/>
        </p:nvCxnSpPr>
        <p:spPr>
          <a:xfrm>
            <a:off x="4280230" y="5040482"/>
            <a:ext cx="2743658" cy="0"/>
          </a:xfrm>
          <a:prstGeom prst="line">
            <a:avLst/>
          </a:prstGeom>
          <a:ln w="38100" cmpd="sng">
            <a:solidFill>
              <a:srgbClr val="293E6B"/>
            </a:solidFill>
            <a:tailEnd type="triangle" w="lg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ListLeanHorizontalTextDetail0">
            <a:extLst>
              <a:ext uri="{FF2B5EF4-FFF2-40B4-BE49-F238E27FC236}">
                <a16:creationId xmlns:a16="http://schemas.microsoft.com/office/drawing/2014/main" id="{AB9955FE-E707-FCBE-21B8-E39BE586C126}"/>
              </a:ext>
            </a:extLst>
          </p:cNvPr>
          <p:cNvSpPr txBox="1">
            <a:spLocks/>
          </p:cNvSpPr>
          <p:nvPr/>
        </p:nvSpPr>
        <p:spPr>
          <a:xfrm>
            <a:off x="4281175" y="5426285"/>
            <a:ext cx="2958373" cy="249299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Extracted fMRI brain connectivity matrices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Cleaned, normalized, and merged metadata</a:t>
            </a: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endParaRPr lang="en-US">
              <a:solidFill>
                <a:srgbClr val="293E6B"/>
              </a:solidFill>
              <a:latin typeface="Roboto"/>
              <a:ea typeface="Roboto"/>
              <a:cs typeface="Times New Roman"/>
              <a:sym typeface="Arial"/>
            </a:endParaRPr>
          </a:p>
          <a:p>
            <a:pPr marL="285750" indent="-285750">
              <a:buClr>
                <a:srgbClr val="00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>
                <a:solidFill>
                  <a:srgbClr val="293E6B"/>
                </a:solidFill>
                <a:latin typeface="Roboto"/>
                <a:ea typeface="Roboto"/>
                <a:cs typeface="Times New Roman"/>
                <a:sym typeface="Arial"/>
              </a:rPr>
              <a:t>Performed EDA, feature engineering, and visualized trends</a:t>
            </a:r>
          </a:p>
        </p:txBody>
      </p:sp>
      <p:cxnSp>
        <p:nvCxnSpPr>
          <p:cNvPr id="29" name="HorizontalLine4">
            <a:extLst>
              <a:ext uri="{FF2B5EF4-FFF2-40B4-BE49-F238E27FC236}">
                <a16:creationId xmlns:a16="http://schemas.microsoft.com/office/drawing/2014/main" id="{B076BD5F-2576-C1C8-7594-3241974A4393}"/>
              </a:ext>
            </a:extLst>
          </p:cNvPr>
          <p:cNvCxnSpPr>
            <a:cxnSpLocks/>
          </p:cNvCxnSpPr>
          <p:nvPr/>
        </p:nvCxnSpPr>
        <p:spPr>
          <a:xfrm>
            <a:off x="14118315" y="5040481"/>
            <a:ext cx="2743658" cy="0"/>
          </a:xfrm>
          <a:prstGeom prst="line">
            <a:avLst/>
          </a:prstGeom>
          <a:ln w="38100" cmpd="sng">
            <a:solidFill>
              <a:srgbClr val="293E6B"/>
            </a:solidFill>
            <a:tailEnd type="triangle" w="lg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9779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405772-E80B-53AF-70C9-BA56839EF2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C0355A-C7C5-2D44-4220-41A614DA3D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C0355A-C7C5-2D44-4220-41A614DA3D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56D69EC2-5112-470D-F841-AE65EA083F91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FEC6C425-1736-32D3-FDB7-F657E3766C0E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E16BB8E5-51C1-A6F7-90FC-3A763202051E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8FFA8F8-ACD5-6DFD-80CB-12BFA91AB6D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D39B6B78-3788-3150-6D3E-A9A3DD17468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C43885A4-D3A6-8B0B-DAB0-0654843DD5C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Risk Analysis</a:t>
              </a: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AA7A8FB-D5AD-2F3D-D69F-3367D0200D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84864"/>
              </p:ext>
            </p:extLst>
          </p:nvPr>
        </p:nvGraphicFramePr>
        <p:xfrm>
          <a:off x="826773" y="1751874"/>
          <a:ext cx="16367760" cy="744437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3206826429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3512811313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3045804531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1128647742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176114246"/>
                    </a:ext>
                  </a:extLst>
                </a:gridCol>
              </a:tblGrid>
              <a:tr h="498929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isk Descri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ikeliho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itigation Strateg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9585678"/>
                  </a:ext>
                </a:extLst>
              </a:tr>
              <a:tr h="498929">
                <a:tc gridSpan="5">
                  <a:txBody>
                    <a:bodyPr/>
                    <a:lstStyle/>
                    <a:p>
                      <a:pPr marL="233363" indent="0" algn="l"/>
                      <a:r>
                        <a:rPr lang="en-US" sz="2000" b="1">
                          <a:solidFill>
                            <a:srgbClr val="293E6B"/>
                          </a:solidFill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Business and Data Understanding</a:t>
                      </a: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2208386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isalignment with Objective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nclear project objectives can lead to misdirected project implementation.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ow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Involve stakeholders early, set clear objectives, and review with experts regularly.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6715652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ack of Domain Knowledg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ack of expertise in specific areas (e.g., neuroscience, deep learning) may slow progress..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sult experts, review existing studies, and discuss with mentors to refine goals.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3143882"/>
                  </a:ext>
                </a:extLst>
              </a:tr>
              <a:tr h="502920">
                <a:tc gridSpan="5">
                  <a:txBody>
                    <a:bodyPr/>
                    <a:lstStyle/>
                    <a:p>
                      <a:pPr marL="233363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>
                          <a:solidFill>
                            <a:srgbClr val="293E6B"/>
                          </a:solidFill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ata Preparation</a:t>
                      </a:r>
                      <a:endParaRPr lang="en-US" sz="2000" b="0" i="0" u="none" strike="noStrike">
                        <a:solidFill>
                          <a:srgbClr val="293E6B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28600" indent="0" algn="l" fontAlgn="ctr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8672897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andling Missing Data &amp; Outlier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issing or incorrect data (fMRI/metadata) may affect model accuracy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se reliable methods to detect outliers, and impute missing data (e.g., statistical checks, visualization)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4561651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Integration of Metadata and fMRI Da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rrors in merging data if unique</a:t>
                      </a:r>
                    </a:p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IDs are missing or inconsistent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ow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heck unique IDs carefully; verify data after merging to ensure everything aligns correctly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6679348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ata Preprocessing Mismatch with Mode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ata preprocessing methods that do not align with the machine learning model can lead to poor performance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sure preprocessing techniques match model; test different preprocessing strategies and validate results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038298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6FC1EF3D-55C3-4D27-F9E5-2FB4BDEEBBAE}"/>
              </a:ext>
            </a:extLst>
          </p:cNvPr>
          <p:cNvGrpSpPr/>
          <p:nvPr/>
        </p:nvGrpSpPr>
        <p:grpSpPr>
          <a:xfrm>
            <a:off x="8254253" y="3696373"/>
            <a:ext cx="3009900" cy="176350"/>
            <a:chOff x="8343900" y="4599575"/>
            <a:chExt cx="3009900" cy="1763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9487774-D74A-FEA1-36B3-FF196CD2A9AF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46B96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190F7E7-7C19-C5D4-D4AA-D1E7AD9A22A8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3A8BB2F-90C2-279E-7EA4-713DD2F2E178}"/>
              </a:ext>
            </a:extLst>
          </p:cNvPr>
          <p:cNvGrpSpPr/>
          <p:nvPr/>
        </p:nvGrpSpPr>
        <p:grpSpPr>
          <a:xfrm>
            <a:off x="8254253" y="4880885"/>
            <a:ext cx="3009900" cy="176350"/>
            <a:chOff x="8343900" y="4599575"/>
            <a:chExt cx="3009900" cy="1763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6D0F761-6FBC-D70A-4E4B-012350A3B625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90676-3C69-0817-82F9-C3DFA5D75EE8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80EC0-4CE3-540E-4CE5-04D321FD4D6A}"/>
              </a:ext>
            </a:extLst>
          </p:cNvPr>
          <p:cNvGrpSpPr/>
          <p:nvPr/>
        </p:nvGrpSpPr>
        <p:grpSpPr>
          <a:xfrm>
            <a:off x="8254253" y="6572878"/>
            <a:ext cx="3009900" cy="176350"/>
            <a:chOff x="8343900" y="4599575"/>
            <a:chExt cx="3009900" cy="17635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9E6A7F0-B809-FDAE-C028-81109C19FC8F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63BA5DC-7156-37A1-DD96-BFF35A250C07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01A431B-D98C-D229-00C0-3A7EA2BF5452}"/>
              </a:ext>
            </a:extLst>
          </p:cNvPr>
          <p:cNvGrpSpPr/>
          <p:nvPr/>
        </p:nvGrpSpPr>
        <p:grpSpPr>
          <a:xfrm>
            <a:off x="8254253" y="7760793"/>
            <a:ext cx="3009900" cy="176350"/>
            <a:chOff x="8343900" y="4599575"/>
            <a:chExt cx="3009900" cy="17635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4092546-2917-3A2E-07A8-CB377B89F463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46B96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73360CB-30F4-BA63-C034-801446219E94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2E57AC-5CCC-16EE-85DC-365F8ACC86B8}"/>
              </a:ext>
            </a:extLst>
          </p:cNvPr>
          <p:cNvGrpSpPr/>
          <p:nvPr/>
        </p:nvGrpSpPr>
        <p:grpSpPr>
          <a:xfrm>
            <a:off x="8254253" y="8952964"/>
            <a:ext cx="3009900" cy="176350"/>
            <a:chOff x="8343900" y="4599575"/>
            <a:chExt cx="3009900" cy="1763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45DEEB-179D-EB9F-647F-3E2F257598E0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AFB04C7-E6BF-3791-8846-9F12B97D1F50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6185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F255C-AADD-E4F3-6A94-A123D2AFF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24810C5-DD1E-9911-FE00-A808339148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6" y="2387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24810C5-DD1E-9911-FE00-A808339148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6886" y="2387"/>
                        <a:ext cx="2381" cy="23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2">
            <a:extLst>
              <a:ext uri="{FF2B5EF4-FFF2-40B4-BE49-F238E27FC236}">
                <a16:creationId xmlns:a16="http://schemas.microsoft.com/office/drawing/2014/main" id="{C7F51622-675C-FD07-06B8-5A6978D98612}"/>
              </a:ext>
            </a:extLst>
          </p:cNvPr>
          <p:cNvGrpSpPr/>
          <p:nvPr/>
        </p:nvGrpSpPr>
        <p:grpSpPr>
          <a:xfrm>
            <a:off x="0" y="9954101"/>
            <a:ext cx="18288000" cy="332899"/>
            <a:chOff x="0" y="0"/>
            <a:chExt cx="4816593" cy="87677"/>
          </a:xfrm>
          <a:solidFill>
            <a:schemeClr val="tx2"/>
          </a:solidFill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F5FB9F92-F49E-1FA5-56E1-1445A883EF3A}"/>
                </a:ext>
              </a:extLst>
            </p:cNvPr>
            <p:cNvSpPr/>
            <p:nvPr/>
          </p:nvSpPr>
          <p:spPr>
            <a:xfrm>
              <a:off x="0" y="0"/>
              <a:ext cx="4816592" cy="87677"/>
            </a:xfrm>
            <a:custGeom>
              <a:avLst/>
              <a:gdLst/>
              <a:ahLst/>
              <a:cxnLst/>
              <a:rect l="l" t="t" r="r" b="b"/>
              <a:pathLst>
                <a:path w="4816592" h="87677">
                  <a:moveTo>
                    <a:pt x="0" y="0"/>
                  </a:moveTo>
                  <a:lnTo>
                    <a:pt x="4816592" y="0"/>
                  </a:lnTo>
                  <a:lnTo>
                    <a:pt x="4816592" y="87677"/>
                  </a:lnTo>
                  <a:lnTo>
                    <a:pt x="0" y="87677"/>
                  </a:ln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764D9D9A-45F2-C06D-7DE2-8CF16B5F4C30}"/>
                </a:ext>
              </a:extLst>
            </p:cNvPr>
            <p:cNvSpPr txBox="1"/>
            <p:nvPr/>
          </p:nvSpPr>
          <p:spPr>
            <a:xfrm>
              <a:off x="0" y="-38100"/>
              <a:ext cx="4816593" cy="125777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9628E1D-33F5-FE47-415F-19C0C1CA916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26773" y="527213"/>
            <a:ext cx="17055017" cy="1080000"/>
            <a:chOff x="826773" y="527213"/>
            <a:chExt cx="17055017" cy="1080000"/>
          </a:xfrm>
        </p:grpSpPr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4FFE99AB-E6C4-0D40-4F96-3FB9FE67BD5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5087600" y="527213"/>
              <a:ext cx="2373627" cy="1080000"/>
            </a:xfrm>
            <a:custGeom>
              <a:avLst/>
              <a:gdLst/>
              <a:ahLst/>
              <a:cxnLst/>
              <a:rect l="l" t="t" r="r" b="b"/>
              <a:pathLst>
                <a:path w="3031933" h="1379529">
                  <a:moveTo>
                    <a:pt x="0" y="0"/>
                  </a:moveTo>
                  <a:lnTo>
                    <a:pt x="3031933" y="0"/>
                  </a:lnTo>
                  <a:lnTo>
                    <a:pt x="3031933" y="1379530"/>
                  </a:lnTo>
                  <a:lnTo>
                    <a:pt x="0" y="13795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79499C98-D8E9-0B0C-83E1-9ED52E365E1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26773" y="527213"/>
              <a:ext cx="17055017" cy="1080000"/>
            </a:xfrm>
            <a:prstGeom prst="rect">
              <a:avLst/>
            </a:prstGeom>
          </p:spPr>
          <p:txBody>
            <a:bodyPr vert="horz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5000" b="1">
                  <a:solidFill>
                    <a:srgbClr val="293E6B"/>
                  </a:solidFill>
                  <a:ea typeface="+mj-lt"/>
                  <a:cs typeface="+mj-lt"/>
                </a:rPr>
                <a:t>Risk Analysis</a:t>
              </a: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6062B2-8C3E-84C5-6E2B-5DB41CE917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029138"/>
              </p:ext>
            </p:extLst>
          </p:nvPr>
        </p:nvGraphicFramePr>
        <p:xfrm>
          <a:off x="826773" y="1751874"/>
          <a:ext cx="16367760" cy="744437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3206826429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3512811313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3045804531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1128647742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176114246"/>
                    </a:ext>
                  </a:extLst>
                </a:gridCol>
              </a:tblGrid>
              <a:tr h="498929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isk Descri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ikeliho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itigation Strateg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9585678"/>
                  </a:ext>
                </a:extLst>
              </a:tr>
              <a:tr h="498929">
                <a:tc gridSpan="5">
                  <a:txBody>
                    <a:bodyPr/>
                    <a:lstStyle/>
                    <a:p>
                      <a:pPr marL="233363" indent="0" algn="l"/>
                      <a:r>
                        <a:rPr lang="en-US" sz="2000" b="1">
                          <a:solidFill>
                            <a:srgbClr val="293E6B"/>
                          </a:solidFill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lling</a:t>
                      </a: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2208386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Feature Engineeri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Not transforming features in ways that capture underlying patterns may limit model performance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se expert knowledge to create better features; test different transformations and feature selection methods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6715652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l Optimiz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l performance gets stuck even after optimiz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echeck data quality, try new features, test different model types (e.g., </a:t>
                      </a:r>
                      <a:r>
                        <a:rPr lang="en-US" sz="20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sembling</a:t>
                      </a: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, neural networks), and use advanced tuning methods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3143882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mputational Resource Constraint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 computational cost from complex models and tuning slows down the project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Plan for enough computing power (GPUs, cloud servers); optimize code and use pre-trained models when possible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20106849"/>
                  </a:ext>
                </a:extLst>
              </a:tr>
              <a:tr h="502920">
                <a:tc gridSpan="5">
                  <a:txBody>
                    <a:bodyPr/>
                    <a:lstStyle/>
                    <a:p>
                      <a:pPr marL="233363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>
                          <a:solidFill>
                            <a:srgbClr val="293E6B"/>
                          </a:solidFill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eployment &amp; Maintenance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28600" indent="0" algn="l" fontAlgn="ctr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8672897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ack of</a:t>
                      </a:r>
                    </a:p>
                    <a:p>
                      <a:pPr algn="ctr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ser Feedbac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Failure to collect user feedback lead to unnoticed model biase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ow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egularly collect feedback from users and domain experts; make necessary adjustments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6679348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elays in Project Timelin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indent="0"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Unexpected technical challenges or data issues can delay progres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oder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Hig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et realistic timelines, allow buffer time for unexpected issues, and monitor progress frequently.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038298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75826EF-32C3-13DA-D597-2280250D9E53}"/>
              </a:ext>
            </a:extLst>
          </p:cNvPr>
          <p:cNvGrpSpPr/>
          <p:nvPr/>
        </p:nvGrpSpPr>
        <p:grpSpPr>
          <a:xfrm>
            <a:off x="8202496" y="3695625"/>
            <a:ext cx="3009900" cy="176350"/>
            <a:chOff x="8343900" y="4599575"/>
            <a:chExt cx="3009900" cy="1763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DF111A3-A906-B9B9-32B3-EE40C08A2D9A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18ED2F1-EC19-79E7-462F-B265D920FB39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2ECB8-251A-8964-14EA-D70EAF14DAB8}"/>
              </a:ext>
            </a:extLst>
          </p:cNvPr>
          <p:cNvGrpSpPr/>
          <p:nvPr/>
        </p:nvGrpSpPr>
        <p:grpSpPr>
          <a:xfrm>
            <a:off x="8202496" y="4881300"/>
            <a:ext cx="3009900" cy="176350"/>
            <a:chOff x="8343900" y="4599575"/>
            <a:chExt cx="3009900" cy="1763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79D8E00-AC1F-87FE-472A-34E4450F30A9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0FF26C6-E9F2-79E4-82F9-1CABCE84DAA5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F8467F8-F35C-1AAE-148B-8D1D922CC169}"/>
              </a:ext>
            </a:extLst>
          </p:cNvPr>
          <p:cNvGrpSpPr/>
          <p:nvPr/>
        </p:nvGrpSpPr>
        <p:grpSpPr>
          <a:xfrm>
            <a:off x="8202496" y="6070171"/>
            <a:ext cx="3009900" cy="176350"/>
            <a:chOff x="8343900" y="4599575"/>
            <a:chExt cx="3009900" cy="17635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39EED8E-8AC3-5724-73E4-E2B8A9AACC98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7829018-2C5D-C598-D282-06D3C47413E3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EEAEE72-7254-2336-6FC7-8BA7D9CDB376}"/>
              </a:ext>
            </a:extLst>
          </p:cNvPr>
          <p:cNvGrpSpPr/>
          <p:nvPr/>
        </p:nvGrpSpPr>
        <p:grpSpPr>
          <a:xfrm>
            <a:off x="8202496" y="7770915"/>
            <a:ext cx="3009900" cy="176350"/>
            <a:chOff x="8343900" y="4599575"/>
            <a:chExt cx="3009900" cy="17635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E38FF3-38CA-CCE8-3106-85B13473107F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46B96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F16B091-A511-0E5D-5589-B5FBA89D140A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46E451-D6F9-EC0D-E8D6-95D1AB2EAE9D}"/>
              </a:ext>
            </a:extLst>
          </p:cNvPr>
          <p:cNvGrpSpPr/>
          <p:nvPr/>
        </p:nvGrpSpPr>
        <p:grpSpPr>
          <a:xfrm>
            <a:off x="8202496" y="8954768"/>
            <a:ext cx="3009900" cy="176350"/>
            <a:chOff x="8343900" y="4599575"/>
            <a:chExt cx="3009900" cy="17635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A25C2B3-8F2C-014E-9A5F-85C08183ED50}"/>
                </a:ext>
              </a:extLst>
            </p:cNvPr>
            <p:cNvSpPr/>
            <p:nvPr/>
          </p:nvSpPr>
          <p:spPr>
            <a:xfrm>
              <a:off x="8343900" y="4599576"/>
              <a:ext cx="1016000" cy="17634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4970041-0DE4-7799-BEBA-3682AA88383F}"/>
                </a:ext>
              </a:extLst>
            </p:cNvPr>
            <p:cNvSpPr/>
            <p:nvPr/>
          </p:nvSpPr>
          <p:spPr>
            <a:xfrm>
              <a:off x="10337800" y="4599575"/>
              <a:ext cx="1016000" cy="1763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3499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1858</Words>
  <Application>Microsoft Office PowerPoint</Application>
  <PresentationFormat>Custom</PresentationFormat>
  <Paragraphs>341</Paragraphs>
  <Slides>23</Slides>
  <Notes>2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Roboto</vt:lpstr>
      <vt:lpstr>Arial,Sans-Serif</vt:lpstr>
      <vt:lpstr>Calibri</vt:lpstr>
      <vt:lpstr>Apto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DS Datathon Team</dc:title>
  <cp:lastModifiedBy>Minh Hieu Chu</cp:lastModifiedBy>
  <cp:revision>1</cp:revision>
  <dcterms:created xsi:type="dcterms:W3CDTF">2006-08-16T00:00:00Z</dcterms:created>
  <dcterms:modified xsi:type="dcterms:W3CDTF">2025-04-14T21:11:50Z</dcterms:modified>
  <dc:identifier>DAGcq0aPKVM</dc:identifier>
</cp:coreProperties>
</file>